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23"/>
  </p:notesMasterIdLst>
  <p:sldIdLst>
    <p:sldId id="256" r:id="rId3"/>
    <p:sldId id="335" r:id="rId4"/>
    <p:sldId id="336" r:id="rId5"/>
    <p:sldId id="339" r:id="rId6"/>
    <p:sldId id="338" r:id="rId7"/>
    <p:sldId id="334" r:id="rId8"/>
    <p:sldId id="259" r:id="rId9"/>
    <p:sldId id="261" r:id="rId10"/>
    <p:sldId id="273" r:id="rId11"/>
    <p:sldId id="319" r:id="rId12"/>
    <p:sldId id="320" r:id="rId13"/>
    <p:sldId id="332" r:id="rId14"/>
    <p:sldId id="322" r:id="rId15"/>
    <p:sldId id="324" r:id="rId16"/>
    <p:sldId id="333" r:id="rId17"/>
    <p:sldId id="325" r:id="rId18"/>
    <p:sldId id="326" r:id="rId19"/>
    <p:sldId id="318" r:id="rId20"/>
    <p:sldId id="340" r:id="rId21"/>
    <p:sldId id="341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BC1B"/>
    <a:srgbClr val="EAD657"/>
    <a:srgbClr val="54EEA8"/>
    <a:srgbClr val="364750"/>
    <a:srgbClr val="1A4DDC"/>
    <a:srgbClr val="17E387"/>
    <a:srgbClr val="577EEB"/>
    <a:srgbClr val="2632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9" autoAdjust="0"/>
    <p:restoredTop sz="94660"/>
  </p:normalViewPr>
  <p:slideViewPr>
    <p:cSldViewPr snapToGrid="0" showGuides="1">
      <p:cViewPr varScale="1">
        <p:scale>
          <a:sx n="59" d="100"/>
          <a:sy n="59" d="100"/>
        </p:scale>
        <p:origin x="964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2939A-C4B8-4631-A26D-C63DFE38416A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34BB09-782D-460D-892C-1B10CC9F4F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0705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9450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6737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568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4319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7035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9978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600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161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1104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1794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34BB09-782D-460D-892C-1B10CC9F4FD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906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5677A7-6DE7-47A8-81A1-5F5A6FC845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2E216C-FBC3-46FC-8E5C-777D7034E4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06CFE-DE1E-47BA-8946-8109B2B05B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DBC1857-1EE4-4C0F-959A-A661DF9AB72B}" type="datetime1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860BA3-0268-43D3-811E-3FA5E0D9B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1CD9E-5620-44F6-9DFD-F1B86FA1F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609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25F7C-63D5-4F22-AEBD-2CBBA1B14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BA187D-F796-4538-AF06-F693EF8F71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1BFC87-F783-4D7D-AFFE-35E3E748E2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F7384D-8520-4C52-8440-F823AFFAF2DC}" type="datetime1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80D610-B008-4FD6-B62C-76389B42C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709242-79B3-47B8-A706-8DF6ADE29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226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450410-80F2-4C7B-88B4-9CEBF26DD3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3A5E64-FE50-4CD0-9C8D-87208A910B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F44C94-0E57-45AF-81E9-98CCF6C362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3C24D1-2396-47D5-9B83-4D50ACC473F2}" type="datetime1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97A33E-50B4-41B9-9916-075B2D0AD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DB6EF-B59A-4DC2-91C1-EA150F8AA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842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898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988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162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406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646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935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9624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5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1F45-7F15-4577-8044-F588EF9CB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409F99-1091-4930-AF0C-557B8C62D0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DADDB9-5247-456E-98CE-B2288775C8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EAD7B36-034B-40FC-A7EA-F2E58B29B262}" type="datetime1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40A7F3-8066-40DE-858E-9E2592F36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F13BD-0793-42CE-ABF6-53F6A5AC08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5046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2579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1731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691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9F560-CD6B-450A-BE89-AE2786E71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489262-29DC-4B00-AE05-FB52A3516E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CA4784-3E4F-4160-88AD-035C42BA96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68ECA95-4614-4432-81B0-67999CACB69F}" type="datetime1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C22C88-6556-402E-B1EC-7C9BEC70F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995569-D22C-440C-878A-547BEC5CB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846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C1F34-FA0D-40C4-AEC1-D0BC220B9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14C5B-191A-48F6-89E9-663F345A43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F54A4B-2C8A-4A2A-BDB4-542622C353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0A3065-680B-4DA4-9135-CDC8372F26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B8EAA3D-5EA8-40A8-B227-7910240C8709}" type="datetime1">
              <a:rPr lang="en-US" smtClean="0"/>
              <a:t>08-Feb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F0E316-A692-4F55-BA18-B5513D04F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6A71E5-99E3-48ED-8E9D-D85F3E34C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360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85938-35EA-42C2-95E0-E2DE4391F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4CE5EB-CD06-41CF-90F3-3F0E751086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04BCC4-B481-447D-88B5-7D508F4112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714120-CE4E-4A8B-878C-EE867B1D43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A19150-B2A4-48E5-A63F-CA3F62F73E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467388-FE9D-4FBE-8596-3B1F7073A6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7715CF1-6A56-4655-9F66-2041E833B5EF}" type="datetime1">
              <a:rPr lang="en-US" smtClean="0"/>
              <a:t>08-Feb-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8F83EA4-6041-4409-91CF-C3F867F1C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D315AE-A6E6-4343-8899-A0BF9E7D7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644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731957-2F94-4FC4-84E6-C4992F4AF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B8C13F-E411-46AE-90C5-370D979139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7AB0D79-3849-4687-8672-4552490A02EC}" type="datetime1">
              <a:rPr lang="en-US" smtClean="0"/>
              <a:t>08-Feb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5EDF28-7522-4C7B-9B7E-823420C886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9849AF-0502-45A1-89FA-B7012561E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1709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524761-F0D9-4A35-AAFD-A94BBB5A518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2B0096C-34F3-4770-9EDA-B201957A54F3}" type="datetime1">
              <a:rPr lang="en-US" smtClean="0"/>
              <a:t>08-Feb-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E81995-BDEA-4488-A630-EC4516503D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B331AC-A84D-416B-85BA-1AEDA8896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865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119ED1-BEBA-4036-904C-1C0A3C21F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93D6ED-463D-4C61-9875-309EF32FAF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425E7-AAD9-4EE2-85E3-ED341ACD11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6D3E1B-CBCB-4F33-8847-099BD89E8F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9E00D34-38EB-4221-89A0-A98016DA86C2}" type="datetime1">
              <a:rPr lang="en-US" smtClean="0"/>
              <a:t>08-Feb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671292-7C93-4032-B4F3-EBA95A32C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85B3B8-0CE5-4865-A0B9-AAE154CF8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457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2FC35-AE3A-4D71-91BF-1A5EE6802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1C9D61D-98A8-4D31-9C93-98D1E0AE66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EE1B4C-A68C-45BD-AD07-ECBBF29F75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75DDA2-4A29-4621-AC65-945FA7AFD3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EAA41F-AAA5-4B8C-AC2F-A8D29BACD31D}" type="datetime1">
              <a:rPr lang="en-US" smtClean="0"/>
              <a:t>08-Feb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AEE29C-3A84-4BC4-8846-96DD20AC1A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E36A52-90C3-471A-B895-0A08F4A9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700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0AEF5A-3C28-4D7B-A4ED-9BFA4EB817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2925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B8C491-04B7-47DB-B282-303EDE8CA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925" y="365125"/>
            <a:ext cx="11360150" cy="1019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CB4847-2DFB-49F2-9089-64DA0AB3E8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625600"/>
            <a:ext cx="11360150" cy="4551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697EA-AE3C-44FA-9E9A-26637EBF2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3287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24F82C-4197-499A-8E01-F26189127D07}" type="slidenum">
              <a:rPr lang="en-US" smtClean="0"/>
              <a:t>‹#›</a:t>
            </a:fld>
            <a:endParaRPr lang="en-US"/>
          </a:p>
        </p:txBody>
      </p:sp>
      <p:pic>
        <p:nvPicPr>
          <p:cNvPr id="17" name="Picture 2" descr="Image result for 24slides logo">
            <a:extLst>
              <a:ext uri="{FF2B5EF4-FFF2-40B4-BE49-F238E27FC236}">
                <a16:creationId xmlns:a16="http://schemas.microsoft.com/office/drawing/2014/main" id="{281F7301-C892-4E49-981C-5794014F03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6419985"/>
            <a:ext cx="629475" cy="23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3851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5918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08-Feb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863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8.JP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2D5C86-EE6E-4BA8-AA19-5F762DC66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923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222">
            <a:extLst>
              <a:ext uri="{FF2B5EF4-FFF2-40B4-BE49-F238E27FC236}">
                <a16:creationId xmlns:a16="http://schemas.microsoft.com/office/drawing/2014/main" id="{1851C08D-F5C2-4B56-A826-D6A7C2F16DA6}"/>
              </a:ext>
            </a:extLst>
          </p:cNvPr>
          <p:cNvSpPr/>
          <p:nvPr/>
        </p:nvSpPr>
        <p:spPr>
          <a:xfrm rot="2700000" flipH="1" flipV="1">
            <a:off x="6299022" y="-1438935"/>
            <a:ext cx="3783578" cy="324282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223">
            <a:extLst>
              <a:ext uri="{FF2B5EF4-FFF2-40B4-BE49-F238E27FC236}">
                <a16:creationId xmlns:a16="http://schemas.microsoft.com/office/drawing/2014/main" id="{327CB7A5-986A-4D86-B592-40BC19B55676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222">
            <a:extLst>
              <a:ext uri="{FF2B5EF4-FFF2-40B4-BE49-F238E27FC236}">
                <a16:creationId xmlns:a16="http://schemas.microsoft.com/office/drawing/2014/main" id="{5D86BF0B-E077-4A3A-813F-69DF24977F2F}"/>
              </a:ext>
            </a:extLst>
          </p:cNvPr>
          <p:cNvSpPr/>
          <p:nvPr/>
        </p:nvSpPr>
        <p:spPr>
          <a:xfrm rot="2700000">
            <a:off x="1548088" y="5528190"/>
            <a:ext cx="2804649" cy="240380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223">
            <a:extLst>
              <a:ext uri="{FF2B5EF4-FFF2-40B4-BE49-F238E27FC236}">
                <a16:creationId xmlns:a16="http://schemas.microsoft.com/office/drawing/2014/main" id="{AA0879E0-C170-4515-B0EB-9EAACC63A0C0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A4DFEA-5F92-40FB-83B6-57778A99B173}"/>
              </a:ext>
            </a:extLst>
          </p:cNvPr>
          <p:cNvSpPr/>
          <p:nvPr/>
        </p:nvSpPr>
        <p:spPr>
          <a:xfrm>
            <a:off x="698500" y="737192"/>
            <a:ext cx="10561976" cy="536565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34A0110-9254-4E0E-B83F-6D7CB4D58C7A}"/>
              </a:ext>
            </a:extLst>
          </p:cNvPr>
          <p:cNvSpPr/>
          <p:nvPr/>
        </p:nvSpPr>
        <p:spPr>
          <a:xfrm rot="18900000" flipV="1">
            <a:off x="-589955" y="138978"/>
            <a:ext cx="3424021" cy="2752319"/>
          </a:xfrm>
          <a:custGeom>
            <a:avLst/>
            <a:gdLst>
              <a:gd name="connsiteX0" fmla="*/ 167149 w 3424021"/>
              <a:gd name="connsiteY0" fmla="*/ 167148 h 2752319"/>
              <a:gd name="connsiteX1" fmla="*/ 570682 w 3424021"/>
              <a:gd name="connsiteY1" fmla="*/ 0 h 2752319"/>
              <a:gd name="connsiteX2" fmla="*/ 2853340 w 3424021"/>
              <a:gd name="connsiteY2" fmla="*/ 0 h 2752319"/>
              <a:gd name="connsiteX3" fmla="*/ 3424021 w 3424021"/>
              <a:gd name="connsiteY3" fmla="*/ 570681 h 2752319"/>
              <a:gd name="connsiteX4" fmla="*/ 3424021 w 3424021"/>
              <a:gd name="connsiteY4" fmla="*/ 1158607 h 2752319"/>
              <a:gd name="connsiteX5" fmla="*/ 1915339 w 3424021"/>
              <a:gd name="connsiteY5" fmla="*/ 2667290 h 2752319"/>
              <a:gd name="connsiteX6" fmla="*/ 1504780 w 3424021"/>
              <a:gd name="connsiteY6" fmla="*/ 2667290 h 2752319"/>
              <a:gd name="connsiteX7" fmla="*/ 0 w 3424021"/>
              <a:gd name="connsiteY7" fmla="*/ 1162509 h 2752319"/>
              <a:gd name="connsiteX8" fmla="*/ 0 w 3424021"/>
              <a:gd name="connsiteY8" fmla="*/ 570681 h 2752319"/>
              <a:gd name="connsiteX9" fmla="*/ 167149 w 3424021"/>
              <a:gd name="connsiteY9" fmla="*/ 167148 h 275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4021" h="2752319">
                <a:moveTo>
                  <a:pt x="167149" y="167148"/>
                </a:moveTo>
                <a:cubicBezTo>
                  <a:pt x="270422" y="63875"/>
                  <a:pt x="413093" y="0"/>
                  <a:pt x="570682" y="0"/>
                </a:cubicBezTo>
                <a:lnTo>
                  <a:pt x="2853340" y="0"/>
                </a:lnTo>
                <a:cubicBezTo>
                  <a:pt x="3168517" y="0"/>
                  <a:pt x="3424021" y="255503"/>
                  <a:pt x="3424021" y="570681"/>
                </a:cubicBezTo>
                <a:lnTo>
                  <a:pt x="3424021" y="1158607"/>
                </a:lnTo>
                <a:lnTo>
                  <a:pt x="1915339" y="2667290"/>
                </a:lnTo>
                <a:cubicBezTo>
                  <a:pt x="1801967" y="2780662"/>
                  <a:pt x="1618153" y="2780662"/>
                  <a:pt x="1504780" y="2667290"/>
                </a:cubicBezTo>
                <a:lnTo>
                  <a:pt x="0" y="1162509"/>
                </a:lnTo>
                <a:lnTo>
                  <a:pt x="0" y="570681"/>
                </a:lnTo>
                <a:cubicBezTo>
                  <a:pt x="0" y="413092"/>
                  <a:pt x="63876" y="270421"/>
                  <a:pt x="167149" y="167148"/>
                </a:cubicBezTo>
                <a:close/>
              </a:path>
            </a:pathLst>
          </a:cu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2AA6603-2522-41C3-BF24-A88FBE902D79}"/>
              </a:ext>
            </a:extLst>
          </p:cNvPr>
          <p:cNvSpPr/>
          <p:nvPr/>
        </p:nvSpPr>
        <p:spPr>
          <a:xfrm>
            <a:off x="252202" y="32588"/>
            <a:ext cx="431800" cy="431800"/>
          </a:xfrm>
          <a:prstGeom prst="ellipse">
            <a:avLst/>
          </a:pr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56BAE98-0B73-4DB3-8A1D-D88C73F4C386}"/>
              </a:ext>
            </a:extLst>
          </p:cNvPr>
          <p:cNvSpPr/>
          <p:nvPr/>
        </p:nvSpPr>
        <p:spPr>
          <a:xfrm>
            <a:off x="886830" y="32588"/>
            <a:ext cx="431800" cy="431800"/>
          </a:xfrm>
          <a:prstGeom prst="ellipse">
            <a:avLst/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887CF6-81CE-479D-9AEF-A418B8F38644}"/>
              </a:ext>
            </a:extLst>
          </p:cNvPr>
          <p:cNvSpPr/>
          <p:nvPr/>
        </p:nvSpPr>
        <p:spPr>
          <a:xfrm>
            <a:off x="1472284" y="32588"/>
            <a:ext cx="431800" cy="431800"/>
          </a:xfrm>
          <a:prstGeom prst="ellipse">
            <a:avLst/>
          </a:prstGeom>
          <a:solidFill>
            <a:srgbClr val="54EE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A1B7BF8-6D7F-4815-9E00-8E80ADAD657A}"/>
              </a:ext>
            </a:extLst>
          </p:cNvPr>
          <p:cNvSpPr txBox="1">
            <a:spLocks/>
          </p:cNvSpPr>
          <p:nvPr/>
        </p:nvSpPr>
        <p:spPr>
          <a:xfrm>
            <a:off x="2781428" y="1281632"/>
            <a:ext cx="6748386" cy="9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800" dirty="0">
                <a:solidFill>
                  <a:srgbClr val="577EE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blem Statement</a:t>
            </a:r>
          </a:p>
        </p:txBody>
      </p:sp>
      <p:pic>
        <p:nvPicPr>
          <p:cNvPr id="3" name="Graphic 2" descr="Right Brain with solid fill">
            <a:extLst>
              <a:ext uri="{FF2B5EF4-FFF2-40B4-BE49-F238E27FC236}">
                <a16:creationId xmlns:a16="http://schemas.microsoft.com/office/drawing/2014/main" id="{4B15C93F-A9B2-41A5-A69F-1C9B5480DD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13614" y="737192"/>
            <a:ext cx="1673252" cy="18274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6F2B3F3-8BC6-46EA-963A-BAAE0FB10EFB}"/>
              </a:ext>
            </a:extLst>
          </p:cNvPr>
          <p:cNvSpPr txBox="1"/>
          <p:nvPr/>
        </p:nvSpPr>
        <p:spPr>
          <a:xfrm>
            <a:off x="2950412" y="2951731"/>
            <a:ext cx="72603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r>
              <a:rPr lang="en-MY" sz="3600" dirty="0"/>
              <a:t>What Problems are we going to solved?</a:t>
            </a:r>
          </a:p>
        </p:txBody>
      </p:sp>
    </p:spTree>
    <p:extLst>
      <p:ext uri="{BB962C8B-B14F-4D97-AF65-F5344CB8AC3E}">
        <p14:creationId xmlns:p14="http://schemas.microsoft.com/office/powerpoint/2010/main" val="20952189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95A0CAC-E09D-4B72-8F15-22B8B5F6BB5C}"/>
              </a:ext>
            </a:extLst>
          </p:cNvPr>
          <p:cNvSpPr/>
          <p:nvPr/>
        </p:nvSpPr>
        <p:spPr>
          <a:xfrm>
            <a:off x="0" y="5260630"/>
            <a:ext cx="12192000" cy="1589928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345063" y="5809372"/>
            <a:ext cx="208245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ubject 3</a:t>
            </a:r>
          </a:p>
        </p:txBody>
      </p:sp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2B6810AC-FD9E-44CF-9CF4-12BFCACEC6D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2" t="16190" r="25893" b="13651"/>
          <a:stretch/>
        </p:blipFill>
        <p:spPr>
          <a:xfrm>
            <a:off x="0" y="7441"/>
            <a:ext cx="6019800" cy="4811486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23772226-5533-401B-8616-2D0A8AF43CC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61" t="16190" r="25714" b="13651"/>
          <a:stretch/>
        </p:blipFill>
        <p:spPr>
          <a:xfrm>
            <a:off x="6096000" y="119743"/>
            <a:ext cx="6096000" cy="481148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98A6B01-00E0-4F33-873B-752DDBAD977B}"/>
              </a:ext>
            </a:extLst>
          </p:cNvPr>
          <p:cNvSpPr/>
          <p:nvPr/>
        </p:nvSpPr>
        <p:spPr>
          <a:xfrm>
            <a:off x="6909653" y="5640094"/>
            <a:ext cx="528234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in Signal : Positive Valance and Negative Arous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otion : Calm</a:t>
            </a:r>
          </a:p>
        </p:txBody>
      </p:sp>
    </p:spTree>
    <p:extLst>
      <p:ext uri="{BB962C8B-B14F-4D97-AF65-F5344CB8AC3E}">
        <p14:creationId xmlns:p14="http://schemas.microsoft.com/office/powerpoint/2010/main" val="4126183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6969A00-8453-41F5-8BF1-5F5CD1C31645}"/>
              </a:ext>
            </a:extLst>
          </p:cNvPr>
          <p:cNvSpPr/>
          <p:nvPr/>
        </p:nvSpPr>
        <p:spPr>
          <a:xfrm>
            <a:off x="0" y="5260630"/>
            <a:ext cx="12192000" cy="1589928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519236" y="5809372"/>
            <a:ext cx="177765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ubject 4</a:t>
            </a:r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8DD3C9E-82F4-4B4D-825A-7322AC9A66D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3" t="16039" r="25869" b="13817"/>
          <a:stretch/>
        </p:blipFill>
        <p:spPr>
          <a:xfrm>
            <a:off x="0" y="7441"/>
            <a:ext cx="6040171" cy="4810540"/>
          </a:xfrm>
          <a:prstGeom prst="rect">
            <a:avLst/>
          </a:prstGeom>
        </p:spPr>
      </p:pic>
      <p:pic>
        <p:nvPicPr>
          <p:cNvPr id="8" name="Picture 7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5519AB35-B46D-4325-98A2-8E8A76C0746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58" t="15728" r="25625" b="14127"/>
          <a:stretch/>
        </p:blipFill>
        <p:spPr>
          <a:xfrm>
            <a:off x="6122505" y="7441"/>
            <a:ext cx="6040171" cy="481054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5A496CBF-047F-4122-B057-971DCABAE7BF}"/>
              </a:ext>
            </a:extLst>
          </p:cNvPr>
          <p:cNvSpPr/>
          <p:nvPr/>
        </p:nvSpPr>
        <p:spPr>
          <a:xfrm>
            <a:off x="6880329" y="5640094"/>
            <a:ext cx="528234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in Signal : Positive Valance and Negative Arous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otion : Calm</a:t>
            </a:r>
          </a:p>
        </p:txBody>
      </p:sp>
    </p:spTree>
    <p:extLst>
      <p:ext uri="{BB962C8B-B14F-4D97-AF65-F5344CB8AC3E}">
        <p14:creationId xmlns:p14="http://schemas.microsoft.com/office/powerpoint/2010/main" val="1141706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" name="Object 139" hidden="1">
            <a:extLst>
              <a:ext uri="{FF2B5EF4-FFF2-40B4-BE49-F238E27FC236}">
                <a16:creationId xmlns:a16="http://schemas.microsoft.com/office/drawing/2014/main" id="{51B27ADD-B445-4F7B-BCC1-FDF952C4B4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40" name="Object 139" hidden="1">
                        <a:extLst>
                          <a:ext uri="{FF2B5EF4-FFF2-40B4-BE49-F238E27FC236}">
                            <a16:creationId xmlns:a16="http://schemas.microsoft.com/office/drawing/2014/main" id="{51B27ADD-B445-4F7B-BCC1-FDF952C4B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Freeform 223">
            <a:extLst>
              <a:ext uri="{FF2B5EF4-FFF2-40B4-BE49-F238E27FC236}">
                <a16:creationId xmlns:a16="http://schemas.microsoft.com/office/drawing/2014/main" id="{97381884-7953-415F-B2A9-D7B5498B131E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9" name="Freeform 223">
            <a:extLst>
              <a:ext uri="{FF2B5EF4-FFF2-40B4-BE49-F238E27FC236}">
                <a16:creationId xmlns:a16="http://schemas.microsoft.com/office/drawing/2014/main" id="{A2BCB6FE-AE04-4F49-B9CD-AF0A3095AD66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C97E203E-619F-4CB3-B490-81E108F2D48E}"/>
              </a:ext>
            </a:extLst>
          </p:cNvPr>
          <p:cNvSpPr/>
          <p:nvPr/>
        </p:nvSpPr>
        <p:spPr>
          <a:xfrm>
            <a:off x="-5086" y="1792553"/>
            <a:ext cx="12192000" cy="3761457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5" name="Freeform 223">
            <a:extLst>
              <a:ext uri="{FF2B5EF4-FFF2-40B4-BE49-F238E27FC236}">
                <a16:creationId xmlns:a16="http://schemas.microsoft.com/office/drawing/2014/main" id="{667AF6D6-E954-4225-914E-779D9A483B09}"/>
              </a:ext>
            </a:extLst>
          </p:cNvPr>
          <p:cNvSpPr/>
          <p:nvPr/>
        </p:nvSpPr>
        <p:spPr>
          <a:xfrm rot="2700000" flipH="1" flipV="1">
            <a:off x="10251284" y="1722827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6" name="Freeform 223">
            <a:extLst>
              <a:ext uri="{FF2B5EF4-FFF2-40B4-BE49-F238E27FC236}">
                <a16:creationId xmlns:a16="http://schemas.microsoft.com/office/drawing/2014/main" id="{B74CFD9F-B45C-4C86-B1E3-A200101BFB35}"/>
              </a:ext>
            </a:extLst>
          </p:cNvPr>
          <p:cNvSpPr/>
          <p:nvPr/>
        </p:nvSpPr>
        <p:spPr>
          <a:xfrm rot="2700000" flipH="1">
            <a:off x="-530757" y="3995426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4ED2562-D31D-473C-968E-46934F4CC7D4}"/>
              </a:ext>
            </a:extLst>
          </p:cNvPr>
          <p:cNvSpPr/>
          <p:nvPr/>
        </p:nvSpPr>
        <p:spPr>
          <a:xfrm>
            <a:off x="4034407" y="2185227"/>
            <a:ext cx="4113014" cy="297610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Georgia" panose="02040502050405020303" pitchFamily="18" charset="0"/>
              </a:rPr>
              <a:t>MID GRADE STUDENT</a:t>
            </a:r>
          </a:p>
          <a:p>
            <a:pPr algn="ctr"/>
            <a:endParaRPr lang="en-US" sz="2400" b="1" dirty="0">
              <a:solidFill>
                <a:schemeClr val="accent1"/>
              </a:solidFill>
              <a:latin typeface="Georgia" panose="02040502050405020303" pitchFamily="18" charset="0"/>
            </a:endParaRP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Subject</a:t>
            </a: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2 and 5 </a:t>
            </a:r>
          </a:p>
        </p:txBody>
      </p:sp>
    </p:spTree>
    <p:extLst>
      <p:ext uri="{BB962C8B-B14F-4D97-AF65-F5344CB8AC3E}">
        <p14:creationId xmlns:p14="http://schemas.microsoft.com/office/powerpoint/2010/main" val="30572970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3AA2522-8DA3-4D68-8DD1-5CAF4DE5DA9F}"/>
              </a:ext>
            </a:extLst>
          </p:cNvPr>
          <p:cNvSpPr/>
          <p:nvPr/>
        </p:nvSpPr>
        <p:spPr>
          <a:xfrm>
            <a:off x="0" y="5260630"/>
            <a:ext cx="12192000" cy="1589928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508349" y="5809372"/>
            <a:ext cx="191916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ubject 2</a:t>
            </a:r>
          </a:p>
        </p:txBody>
      </p:sp>
      <p:pic>
        <p:nvPicPr>
          <p:cNvPr id="3" name="Picture 2" descr="Chart, histogram&#10;&#10;Description automatically generated">
            <a:extLst>
              <a:ext uri="{FF2B5EF4-FFF2-40B4-BE49-F238E27FC236}">
                <a16:creationId xmlns:a16="http://schemas.microsoft.com/office/drawing/2014/main" id="{55019B1A-C76E-49E2-9FD0-C9EC477278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4" t="10286" r="21571" b="6712"/>
          <a:stretch/>
        </p:blipFill>
        <p:spPr>
          <a:xfrm>
            <a:off x="1" y="0"/>
            <a:ext cx="6095999" cy="5260629"/>
          </a:xfrm>
          <a:prstGeom prst="rect">
            <a:avLst/>
          </a:prstGeom>
        </p:spPr>
      </p:pic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BD64C300-BC3F-4103-BFD4-3F282055B6B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57" t="10476" r="21249" b="6712"/>
          <a:stretch/>
        </p:blipFill>
        <p:spPr>
          <a:xfrm>
            <a:off x="6096000" y="130122"/>
            <a:ext cx="5961018" cy="513050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3B9FE2B-D742-4C86-9D3F-400817D93F0A}"/>
              </a:ext>
            </a:extLst>
          </p:cNvPr>
          <p:cNvSpPr/>
          <p:nvPr/>
        </p:nvSpPr>
        <p:spPr>
          <a:xfrm>
            <a:off x="6909653" y="5501595"/>
            <a:ext cx="5282347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in Signal : Mostly Negative Valance and Positive Arous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otion : Fear</a:t>
            </a:r>
          </a:p>
        </p:txBody>
      </p:sp>
    </p:spTree>
    <p:extLst>
      <p:ext uri="{BB962C8B-B14F-4D97-AF65-F5344CB8AC3E}">
        <p14:creationId xmlns:p14="http://schemas.microsoft.com/office/powerpoint/2010/main" val="3242999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7E7408-6920-4D3F-BCCD-7A5BA948EDE8}"/>
              </a:ext>
            </a:extLst>
          </p:cNvPr>
          <p:cNvSpPr/>
          <p:nvPr/>
        </p:nvSpPr>
        <p:spPr>
          <a:xfrm>
            <a:off x="0" y="5260630"/>
            <a:ext cx="12192000" cy="1589928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519235" y="5809371"/>
            <a:ext cx="191916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ubject 5</a:t>
            </a:r>
          </a:p>
        </p:txBody>
      </p:sp>
      <p:pic>
        <p:nvPicPr>
          <p:cNvPr id="3" name="Picture 2" descr="Graphical user interface, chart, line chart&#10;&#10;Description automatically generated">
            <a:extLst>
              <a:ext uri="{FF2B5EF4-FFF2-40B4-BE49-F238E27FC236}">
                <a16:creationId xmlns:a16="http://schemas.microsoft.com/office/drawing/2014/main" id="{98CC74FB-6AF2-4A49-888F-E8BFB12C39C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64" t="16000" r="25964" b="13524"/>
          <a:stretch/>
        </p:blipFill>
        <p:spPr>
          <a:xfrm>
            <a:off x="6300651" y="7442"/>
            <a:ext cx="5891349" cy="525318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BDFA03B-FC5D-45AE-849B-7AB27043FFE7}"/>
              </a:ext>
            </a:extLst>
          </p:cNvPr>
          <p:cNvSpPr/>
          <p:nvPr/>
        </p:nvSpPr>
        <p:spPr>
          <a:xfrm>
            <a:off x="6909653" y="5501594"/>
            <a:ext cx="5282347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in Signal : Mostly Negative Valance and Positive/ Negative Arous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otion : </a:t>
            </a:r>
            <a:r>
              <a:rPr lang="en-US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ppy,Fear</a:t>
            </a: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nd Sad</a:t>
            </a:r>
          </a:p>
        </p:txBody>
      </p:sp>
      <p:pic>
        <p:nvPicPr>
          <p:cNvPr id="10" name="Picture 9" descr="Chart&#10;&#10;Description automatically generated">
            <a:extLst>
              <a:ext uri="{FF2B5EF4-FFF2-40B4-BE49-F238E27FC236}">
                <a16:creationId xmlns:a16="http://schemas.microsoft.com/office/drawing/2014/main" id="{7F7D307F-04A7-43B1-B150-280A2C3091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59" t="16984" r="25714" b="13491"/>
          <a:stretch/>
        </p:blipFill>
        <p:spPr>
          <a:xfrm>
            <a:off x="100686" y="7442"/>
            <a:ext cx="6199965" cy="525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8544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" name="Object 139" hidden="1">
            <a:extLst>
              <a:ext uri="{FF2B5EF4-FFF2-40B4-BE49-F238E27FC236}">
                <a16:creationId xmlns:a16="http://schemas.microsoft.com/office/drawing/2014/main" id="{51B27ADD-B445-4F7B-BCC1-FDF952C4B4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40" name="Object 139" hidden="1">
                        <a:extLst>
                          <a:ext uri="{FF2B5EF4-FFF2-40B4-BE49-F238E27FC236}">
                            <a16:creationId xmlns:a16="http://schemas.microsoft.com/office/drawing/2014/main" id="{51B27ADD-B445-4F7B-BCC1-FDF952C4B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Freeform 223">
            <a:extLst>
              <a:ext uri="{FF2B5EF4-FFF2-40B4-BE49-F238E27FC236}">
                <a16:creationId xmlns:a16="http://schemas.microsoft.com/office/drawing/2014/main" id="{97381884-7953-415F-B2A9-D7B5498B131E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9" name="Freeform 223">
            <a:extLst>
              <a:ext uri="{FF2B5EF4-FFF2-40B4-BE49-F238E27FC236}">
                <a16:creationId xmlns:a16="http://schemas.microsoft.com/office/drawing/2014/main" id="{A2BCB6FE-AE04-4F49-B9CD-AF0A3095AD66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C97E203E-619F-4CB3-B490-81E108F2D48E}"/>
              </a:ext>
            </a:extLst>
          </p:cNvPr>
          <p:cNvSpPr/>
          <p:nvPr/>
        </p:nvSpPr>
        <p:spPr>
          <a:xfrm>
            <a:off x="-5086" y="1792553"/>
            <a:ext cx="12192000" cy="3761457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5" name="Freeform 223">
            <a:extLst>
              <a:ext uri="{FF2B5EF4-FFF2-40B4-BE49-F238E27FC236}">
                <a16:creationId xmlns:a16="http://schemas.microsoft.com/office/drawing/2014/main" id="{667AF6D6-E954-4225-914E-779D9A483B09}"/>
              </a:ext>
            </a:extLst>
          </p:cNvPr>
          <p:cNvSpPr/>
          <p:nvPr/>
        </p:nvSpPr>
        <p:spPr>
          <a:xfrm rot="2700000" flipH="1" flipV="1">
            <a:off x="10251284" y="1722827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6" name="Freeform 223">
            <a:extLst>
              <a:ext uri="{FF2B5EF4-FFF2-40B4-BE49-F238E27FC236}">
                <a16:creationId xmlns:a16="http://schemas.microsoft.com/office/drawing/2014/main" id="{B74CFD9F-B45C-4C86-B1E3-A200101BFB35}"/>
              </a:ext>
            </a:extLst>
          </p:cNvPr>
          <p:cNvSpPr/>
          <p:nvPr/>
        </p:nvSpPr>
        <p:spPr>
          <a:xfrm rot="2700000" flipH="1">
            <a:off x="-530757" y="3995426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93C13E5-E7A1-41EC-BEC8-87FA4DE57763}"/>
              </a:ext>
            </a:extLst>
          </p:cNvPr>
          <p:cNvSpPr/>
          <p:nvPr/>
        </p:nvSpPr>
        <p:spPr>
          <a:xfrm>
            <a:off x="3909701" y="2185227"/>
            <a:ext cx="4362425" cy="297610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Georgia" panose="02040502050405020303" pitchFamily="18" charset="0"/>
              </a:rPr>
              <a:t>HIGH GRADE STUDENT</a:t>
            </a:r>
          </a:p>
          <a:p>
            <a:pPr algn="ctr"/>
            <a:endParaRPr lang="en-US" sz="2400" b="1" dirty="0">
              <a:solidFill>
                <a:schemeClr val="accent1"/>
              </a:solidFill>
              <a:latin typeface="Georgia" panose="02040502050405020303" pitchFamily="18" charset="0"/>
            </a:endParaRP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Subject</a:t>
            </a: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6 and 7 </a:t>
            </a:r>
          </a:p>
        </p:txBody>
      </p:sp>
    </p:spTree>
    <p:extLst>
      <p:ext uri="{BB962C8B-B14F-4D97-AF65-F5344CB8AC3E}">
        <p14:creationId xmlns:p14="http://schemas.microsoft.com/office/powerpoint/2010/main" val="22561944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7B0F479-F808-4DDD-B229-0C9530C9C3CB}"/>
              </a:ext>
            </a:extLst>
          </p:cNvPr>
          <p:cNvSpPr/>
          <p:nvPr/>
        </p:nvSpPr>
        <p:spPr>
          <a:xfrm>
            <a:off x="0" y="5268072"/>
            <a:ext cx="12192000" cy="1589928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551892" y="5816813"/>
            <a:ext cx="198447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ubject 6 </a:t>
            </a:r>
          </a:p>
        </p:txBody>
      </p: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DAEE66A3-3229-432C-97C6-BBD5E8BA305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37" t="10095" r="21357" b="6666"/>
          <a:stretch/>
        </p:blipFill>
        <p:spPr>
          <a:xfrm>
            <a:off x="1" y="0"/>
            <a:ext cx="6095997" cy="5268069"/>
          </a:xfrm>
          <a:prstGeom prst="rect">
            <a:avLst/>
          </a:prstGeom>
        </p:spPr>
      </p:pic>
      <p:pic>
        <p:nvPicPr>
          <p:cNvPr id="7" name="Picture 6" descr="Graphical user interface, chart, line chart&#10;&#10;Description automatically generated">
            <a:extLst>
              <a:ext uri="{FF2B5EF4-FFF2-40B4-BE49-F238E27FC236}">
                <a16:creationId xmlns:a16="http://schemas.microsoft.com/office/drawing/2014/main" id="{819BA3EA-4ABD-4CA9-82B2-1AD997FF356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37" t="9714" r="21250" b="5309"/>
          <a:stretch/>
        </p:blipFill>
        <p:spPr>
          <a:xfrm>
            <a:off x="6095998" y="0"/>
            <a:ext cx="6096001" cy="526806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E7ED1A3-EEB3-4812-945E-094D61B33092}"/>
              </a:ext>
            </a:extLst>
          </p:cNvPr>
          <p:cNvSpPr/>
          <p:nvPr/>
        </p:nvSpPr>
        <p:spPr>
          <a:xfrm>
            <a:off x="6909653" y="5509036"/>
            <a:ext cx="5282347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in Signal : both positive and negative valence and arousal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otion : Mix Emotion</a:t>
            </a:r>
            <a:endParaRPr lang="en-US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8149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3BA2AAF-BA4C-4212-846E-398896EDE72A}"/>
              </a:ext>
            </a:extLst>
          </p:cNvPr>
          <p:cNvSpPr/>
          <p:nvPr/>
        </p:nvSpPr>
        <p:spPr>
          <a:xfrm>
            <a:off x="0" y="5260630"/>
            <a:ext cx="12192000" cy="1589928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475639" y="5809371"/>
            <a:ext cx="186473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ubject 7</a:t>
            </a:r>
          </a:p>
        </p:txBody>
      </p:sp>
      <p:pic>
        <p:nvPicPr>
          <p:cNvPr id="3" name="Picture 2" descr="Chart, histogram&#10;&#10;Description automatically generated">
            <a:extLst>
              <a:ext uri="{FF2B5EF4-FFF2-40B4-BE49-F238E27FC236}">
                <a16:creationId xmlns:a16="http://schemas.microsoft.com/office/drawing/2014/main" id="{2BD9099D-A4C7-491B-9B9C-F72EBBC43E6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t="9904" r="21679" b="5418"/>
          <a:stretch/>
        </p:blipFill>
        <p:spPr>
          <a:xfrm>
            <a:off x="1" y="0"/>
            <a:ext cx="6065519" cy="5260627"/>
          </a:xfrm>
          <a:prstGeom prst="rect">
            <a:avLst/>
          </a:prstGeom>
        </p:spPr>
      </p:pic>
      <p:pic>
        <p:nvPicPr>
          <p:cNvPr id="8" name="Picture 7" descr="Chart, histogram&#10;&#10;Description automatically generated">
            <a:extLst>
              <a:ext uri="{FF2B5EF4-FFF2-40B4-BE49-F238E27FC236}">
                <a16:creationId xmlns:a16="http://schemas.microsoft.com/office/drawing/2014/main" id="{7A3D707E-173A-4787-85E8-15B665F0474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6" t="10285" r="21143" b="5418"/>
          <a:stretch/>
        </p:blipFill>
        <p:spPr>
          <a:xfrm>
            <a:off x="6096000" y="-3"/>
            <a:ext cx="6065520" cy="526062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8A6080E-6CDF-4C08-960E-85A47F64C797}"/>
              </a:ext>
            </a:extLst>
          </p:cNvPr>
          <p:cNvSpPr/>
          <p:nvPr/>
        </p:nvSpPr>
        <p:spPr>
          <a:xfrm>
            <a:off x="6909653" y="5501594"/>
            <a:ext cx="5282347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in Signal : both positive and negative valence and arousal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otion : Mix Emotion</a:t>
            </a:r>
            <a:endParaRPr lang="en-US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8240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B8AD6-244D-4D34-861B-04AD801771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B8AD6-244D-4D34-861B-04AD801771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DD6CBDAB-3EC2-4CCE-9276-989C1ED574B7}"/>
              </a:ext>
            </a:extLst>
          </p:cNvPr>
          <p:cNvSpPr/>
          <p:nvPr/>
        </p:nvSpPr>
        <p:spPr>
          <a:xfrm>
            <a:off x="0" y="2222500"/>
            <a:ext cx="12192000" cy="46355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9651ADD-BDD6-4CE1-B89F-1D1FB5CB3A79}"/>
              </a:ext>
            </a:extLst>
          </p:cNvPr>
          <p:cNvGrpSpPr/>
          <p:nvPr/>
        </p:nvGrpSpPr>
        <p:grpSpPr>
          <a:xfrm flipH="1" flipV="1">
            <a:off x="-612326" y="-1005808"/>
            <a:ext cx="4352386" cy="9567098"/>
            <a:chOff x="8428702" y="-1770955"/>
            <a:chExt cx="4352386" cy="9567098"/>
          </a:xfrm>
        </p:grpSpPr>
        <p:sp>
          <p:nvSpPr>
            <p:cNvPr id="7" name="Freeform 222">
              <a:extLst>
                <a:ext uri="{FF2B5EF4-FFF2-40B4-BE49-F238E27FC236}">
                  <a16:creationId xmlns:a16="http://schemas.microsoft.com/office/drawing/2014/main" id="{A07554C6-2A94-4AA6-837B-8C6F6AB79CFA}"/>
                </a:ext>
              </a:extLst>
            </p:cNvPr>
            <p:cNvSpPr/>
            <p:nvPr/>
          </p:nvSpPr>
          <p:spPr>
            <a:xfrm rot="2700000" flipH="1" flipV="1">
              <a:off x="8158328" y="-1500581"/>
              <a:ext cx="3783578" cy="3242829"/>
            </a:xfrm>
            <a:custGeom>
              <a:avLst/>
              <a:gdLst>
                <a:gd name="connsiteX0" fmla="*/ 225490 w 3783578"/>
                <a:gd name="connsiteY0" fmla="*/ 225490 h 3242829"/>
                <a:gd name="connsiteX1" fmla="*/ 769871 w 3783578"/>
                <a:gd name="connsiteY1" fmla="*/ 0 h 3242829"/>
                <a:gd name="connsiteX2" fmla="*/ 3783578 w 3783578"/>
                <a:gd name="connsiteY2" fmla="*/ 0 h 3242829"/>
                <a:gd name="connsiteX3" fmla="*/ 540749 w 3783578"/>
                <a:gd name="connsiteY3" fmla="*/ 3242829 h 3242829"/>
                <a:gd name="connsiteX4" fmla="*/ 0 w 3783578"/>
                <a:gd name="connsiteY4" fmla="*/ 2702079 h 3242829"/>
                <a:gd name="connsiteX5" fmla="*/ 0 w 3783578"/>
                <a:gd name="connsiteY5" fmla="*/ 769871 h 3242829"/>
                <a:gd name="connsiteX6" fmla="*/ 225490 w 3783578"/>
                <a:gd name="connsiteY6" fmla="*/ 225490 h 324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3578" h="3242829">
                  <a:moveTo>
                    <a:pt x="225490" y="225490"/>
                  </a:moveTo>
                  <a:cubicBezTo>
                    <a:pt x="364809" y="86170"/>
                    <a:pt x="557278" y="0"/>
                    <a:pt x="769871" y="0"/>
                  </a:cubicBezTo>
                  <a:lnTo>
                    <a:pt x="3783578" y="0"/>
                  </a:lnTo>
                  <a:lnTo>
                    <a:pt x="540749" y="3242829"/>
                  </a:lnTo>
                  <a:lnTo>
                    <a:pt x="0" y="2702079"/>
                  </a:lnTo>
                  <a:lnTo>
                    <a:pt x="0" y="769871"/>
                  </a:lnTo>
                  <a:cubicBezTo>
                    <a:pt x="0" y="557277"/>
                    <a:pt x="86172" y="364810"/>
                    <a:pt x="225490" y="225490"/>
                  </a:cubicBezTo>
                  <a:close/>
                </a:path>
              </a:pathLst>
            </a:custGeom>
            <a:solidFill>
              <a:srgbClr val="EAD6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 223">
              <a:extLst>
                <a:ext uri="{FF2B5EF4-FFF2-40B4-BE49-F238E27FC236}">
                  <a16:creationId xmlns:a16="http://schemas.microsoft.com/office/drawing/2014/main" id="{C364ABC6-7B5F-4774-A414-40EA9E6E53EE}"/>
                </a:ext>
              </a:extLst>
            </p:cNvPr>
            <p:cNvSpPr/>
            <p:nvPr/>
          </p:nvSpPr>
          <p:spPr>
            <a:xfrm rot="8062310" flipH="1" flipV="1">
              <a:off x="8517672" y="3532727"/>
              <a:ext cx="4619134" cy="3907698"/>
            </a:xfrm>
            <a:custGeom>
              <a:avLst/>
              <a:gdLst>
                <a:gd name="connsiteX0" fmla="*/ 225490 w 4619134"/>
                <a:gd name="connsiteY0" fmla="*/ 225490 h 3907698"/>
                <a:gd name="connsiteX1" fmla="*/ 769871 w 4619134"/>
                <a:gd name="connsiteY1" fmla="*/ 0 h 3907698"/>
                <a:gd name="connsiteX2" fmla="*/ 3849263 w 4619134"/>
                <a:gd name="connsiteY2" fmla="*/ 0 h 3907698"/>
                <a:gd name="connsiteX3" fmla="*/ 4619134 w 4619134"/>
                <a:gd name="connsiteY3" fmla="*/ 769871 h 3907698"/>
                <a:gd name="connsiteX4" fmla="*/ 4619134 w 4619134"/>
                <a:gd name="connsiteY4" fmla="*/ 1597230 h 3907698"/>
                <a:gd name="connsiteX5" fmla="*/ 2308666 w 4619134"/>
                <a:gd name="connsiteY5" fmla="*/ 3907698 h 3907698"/>
                <a:gd name="connsiteX6" fmla="*/ 0 w 4619134"/>
                <a:gd name="connsiteY6" fmla="*/ 1599032 h 3907698"/>
                <a:gd name="connsiteX7" fmla="*/ 0 w 4619134"/>
                <a:gd name="connsiteY7" fmla="*/ 769871 h 3907698"/>
                <a:gd name="connsiteX8" fmla="*/ 225490 w 4619134"/>
                <a:gd name="connsiteY8" fmla="*/ 225490 h 3907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19134" h="3907698">
                  <a:moveTo>
                    <a:pt x="225490" y="225490"/>
                  </a:moveTo>
                  <a:cubicBezTo>
                    <a:pt x="364810" y="86170"/>
                    <a:pt x="557278" y="0"/>
                    <a:pt x="769871" y="0"/>
                  </a:cubicBezTo>
                  <a:lnTo>
                    <a:pt x="3849263" y="0"/>
                  </a:lnTo>
                  <a:cubicBezTo>
                    <a:pt x="4274450" y="0"/>
                    <a:pt x="4619134" y="344683"/>
                    <a:pt x="4619134" y="769871"/>
                  </a:cubicBezTo>
                  <a:lnTo>
                    <a:pt x="4619134" y="1597230"/>
                  </a:lnTo>
                  <a:lnTo>
                    <a:pt x="2308666" y="3907698"/>
                  </a:lnTo>
                  <a:lnTo>
                    <a:pt x="0" y="1599032"/>
                  </a:lnTo>
                  <a:lnTo>
                    <a:pt x="0" y="769871"/>
                  </a:lnTo>
                  <a:cubicBezTo>
                    <a:pt x="0" y="557277"/>
                    <a:pt x="86171" y="364809"/>
                    <a:pt x="225490" y="225490"/>
                  </a:cubicBezTo>
                  <a:close/>
                </a:path>
              </a:pathLst>
            </a:custGeom>
            <a:gradFill>
              <a:gsLst>
                <a:gs pos="0">
                  <a:srgbClr val="1A4DDC"/>
                </a:gs>
                <a:gs pos="63000">
                  <a:schemeClr val="accent1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1A51CA6E-5FFF-4EEE-A6CA-85A389FF6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8160" y="484187"/>
            <a:ext cx="3395787" cy="1019175"/>
          </a:xfrm>
        </p:spPr>
        <p:txBody>
          <a:bodyPr vert="horz">
            <a:normAutofit/>
          </a:bodyPr>
          <a:lstStyle/>
          <a:p>
            <a:r>
              <a:rPr lang="en-US" sz="4000" dirty="0"/>
              <a:t>Conclusion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0F8A726-681D-4C16-B63E-082003D42306}"/>
              </a:ext>
            </a:extLst>
          </p:cNvPr>
          <p:cNvSpPr/>
          <p:nvPr/>
        </p:nvSpPr>
        <p:spPr>
          <a:xfrm>
            <a:off x="2118645" y="1803399"/>
            <a:ext cx="9174819" cy="4763784"/>
          </a:xfrm>
          <a:prstGeom prst="roundRect">
            <a:avLst>
              <a:gd name="adj" fmla="val 555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2000" i="1" dirty="0">
                <a:solidFill>
                  <a:srgbClr val="002060"/>
                </a:solidFill>
                <a:latin typeface="Abadi" panose="020B0604020104020204" pitchFamily="34" charset="0"/>
                <a:cs typeface="Segoe UI Semibold" panose="020B0702040204020203" pitchFamily="34" charset="0"/>
              </a:rPr>
              <a:t>Our analysis of the result shows that, the lowest grade students are having positive ve valence and arousal which shows happy emotion While intermediate scorer subjects are having both positive +ve and negative -ve valence which shows fear emotion High grade students having stress due to high expectation to score high in exam but still manage to answer questions correctly</a:t>
            </a:r>
          </a:p>
        </p:txBody>
      </p:sp>
    </p:spTree>
    <p:extLst>
      <p:ext uri="{BB962C8B-B14F-4D97-AF65-F5344CB8AC3E}">
        <p14:creationId xmlns:p14="http://schemas.microsoft.com/office/powerpoint/2010/main" val="8652220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222">
            <a:extLst>
              <a:ext uri="{FF2B5EF4-FFF2-40B4-BE49-F238E27FC236}">
                <a16:creationId xmlns:a16="http://schemas.microsoft.com/office/drawing/2014/main" id="{4A2028E0-EC07-42C6-AADF-C40D52724FE7}"/>
              </a:ext>
            </a:extLst>
          </p:cNvPr>
          <p:cNvSpPr/>
          <p:nvPr/>
        </p:nvSpPr>
        <p:spPr>
          <a:xfrm rot="8109011">
            <a:off x="-1667076" y="466653"/>
            <a:ext cx="3783578" cy="324282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140" name="Object 139" hidden="1">
            <a:extLst>
              <a:ext uri="{FF2B5EF4-FFF2-40B4-BE49-F238E27FC236}">
                <a16:creationId xmlns:a16="http://schemas.microsoft.com/office/drawing/2014/main" id="{51B27ADD-B445-4F7B-BCC1-FDF952C4B4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40" name="Object 139" hidden="1">
                        <a:extLst>
                          <a:ext uri="{FF2B5EF4-FFF2-40B4-BE49-F238E27FC236}">
                            <a16:creationId xmlns:a16="http://schemas.microsoft.com/office/drawing/2014/main" id="{51B27ADD-B445-4F7B-BCC1-FDF952C4B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Freeform 223">
            <a:extLst>
              <a:ext uri="{FF2B5EF4-FFF2-40B4-BE49-F238E27FC236}">
                <a16:creationId xmlns:a16="http://schemas.microsoft.com/office/drawing/2014/main" id="{97381884-7953-415F-B2A9-D7B5498B131E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9" name="Freeform 223">
            <a:extLst>
              <a:ext uri="{FF2B5EF4-FFF2-40B4-BE49-F238E27FC236}">
                <a16:creationId xmlns:a16="http://schemas.microsoft.com/office/drawing/2014/main" id="{A2BCB6FE-AE04-4F49-B9CD-AF0A3095AD66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C97E203E-619F-4CB3-B490-81E108F2D48E}"/>
              </a:ext>
            </a:extLst>
          </p:cNvPr>
          <p:cNvSpPr/>
          <p:nvPr/>
        </p:nvSpPr>
        <p:spPr>
          <a:xfrm>
            <a:off x="-5086" y="1792553"/>
            <a:ext cx="12192000" cy="5065447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5" name="Freeform 223">
            <a:extLst>
              <a:ext uri="{FF2B5EF4-FFF2-40B4-BE49-F238E27FC236}">
                <a16:creationId xmlns:a16="http://schemas.microsoft.com/office/drawing/2014/main" id="{667AF6D6-E954-4225-914E-779D9A483B09}"/>
              </a:ext>
            </a:extLst>
          </p:cNvPr>
          <p:cNvSpPr/>
          <p:nvPr/>
        </p:nvSpPr>
        <p:spPr>
          <a:xfrm rot="2700000" flipH="1" flipV="1">
            <a:off x="10251284" y="1722827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6" name="Freeform 223">
            <a:extLst>
              <a:ext uri="{FF2B5EF4-FFF2-40B4-BE49-F238E27FC236}">
                <a16:creationId xmlns:a16="http://schemas.microsoft.com/office/drawing/2014/main" id="{B74CFD9F-B45C-4C86-B1E3-A200101BFB35}"/>
              </a:ext>
            </a:extLst>
          </p:cNvPr>
          <p:cNvSpPr/>
          <p:nvPr/>
        </p:nvSpPr>
        <p:spPr>
          <a:xfrm rot="2700000" flipH="1">
            <a:off x="-530757" y="3995426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93C13E5-E7A1-41EC-BEC8-87FA4DE57763}"/>
              </a:ext>
            </a:extLst>
          </p:cNvPr>
          <p:cNvSpPr/>
          <p:nvPr/>
        </p:nvSpPr>
        <p:spPr>
          <a:xfrm>
            <a:off x="925642" y="2905436"/>
            <a:ext cx="10330543" cy="297610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Abadi" panose="020B0604020104020204" pitchFamily="34" charset="0"/>
              </a:rPr>
              <a:t>We’ll also be looking towards analyzing more data, since more data will lead to a more accurate and consistent outcome Finally, we'll compare stress levels and early detection of anxiety among STEM stud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A39D69-A3A5-447F-B8E3-1FE421055C8C}"/>
              </a:ext>
            </a:extLst>
          </p:cNvPr>
          <p:cNvSpPr txBox="1"/>
          <p:nvPr/>
        </p:nvSpPr>
        <p:spPr>
          <a:xfrm>
            <a:off x="4132685" y="882169"/>
            <a:ext cx="39164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latin typeface="Georgia" panose="02040502050405020303" pitchFamily="18" charset="0"/>
              </a:rPr>
              <a:t>Future Work</a:t>
            </a:r>
          </a:p>
        </p:txBody>
      </p:sp>
    </p:spTree>
    <p:extLst>
      <p:ext uri="{BB962C8B-B14F-4D97-AF65-F5344CB8AC3E}">
        <p14:creationId xmlns:p14="http://schemas.microsoft.com/office/powerpoint/2010/main" val="2416559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2D5C86-EE6E-4BA8-AA19-5F762DC66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2D5C86-EE6E-4BA8-AA19-5F762DC66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222">
            <a:extLst>
              <a:ext uri="{FF2B5EF4-FFF2-40B4-BE49-F238E27FC236}">
                <a16:creationId xmlns:a16="http://schemas.microsoft.com/office/drawing/2014/main" id="{1851C08D-F5C2-4B56-A826-D6A7C2F16DA6}"/>
              </a:ext>
            </a:extLst>
          </p:cNvPr>
          <p:cNvSpPr/>
          <p:nvPr/>
        </p:nvSpPr>
        <p:spPr>
          <a:xfrm rot="2700000" flipH="1" flipV="1">
            <a:off x="6299022" y="-1438935"/>
            <a:ext cx="3783578" cy="324282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223">
            <a:extLst>
              <a:ext uri="{FF2B5EF4-FFF2-40B4-BE49-F238E27FC236}">
                <a16:creationId xmlns:a16="http://schemas.microsoft.com/office/drawing/2014/main" id="{327CB7A5-986A-4D86-B592-40BC19B55676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222">
            <a:extLst>
              <a:ext uri="{FF2B5EF4-FFF2-40B4-BE49-F238E27FC236}">
                <a16:creationId xmlns:a16="http://schemas.microsoft.com/office/drawing/2014/main" id="{5D86BF0B-E077-4A3A-813F-69DF24977F2F}"/>
              </a:ext>
            </a:extLst>
          </p:cNvPr>
          <p:cNvSpPr/>
          <p:nvPr/>
        </p:nvSpPr>
        <p:spPr>
          <a:xfrm rot="2700000">
            <a:off x="1548088" y="5528190"/>
            <a:ext cx="2804649" cy="240380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223">
            <a:extLst>
              <a:ext uri="{FF2B5EF4-FFF2-40B4-BE49-F238E27FC236}">
                <a16:creationId xmlns:a16="http://schemas.microsoft.com/office/drawing/2014/main" id="{AA0879E0-C170-4515-B0EB-9EAACC63A0C0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A4DFEA-5F92-40FB-83B6-57778A99B173}"/>
              </a:ext>
            </a:extLst>
          </p:cNvPr>
          <p:cNvSpPr/>
          <p:nvPr/>
        </p:nvSpPr>
        <p:spPr>
          <a:xfrm>
            <a:off x="815012" y="737192"/>
            <a:ext cx="10561976" cy="536565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34A0110-9254-4E0E-B83F-6D7CB4D58C7A}"/>
              </a:ext>
            </a:extLst>
          </p:cNvPr>
          <p:cNvSpPr/>
          <p:nvPr/>
        </p:nvSpPr>
        <p:spPr>
          <a:xfrm rot="18900000" flipV="1">
            <a:off x="-178586" y="403146"/>
            <a:ext cx="2611948" cy="2544342"/>
          </a:xfrm>
          <a:custGeom>
            <a:avLst/>
            <a:gdLst>
              <a:gd name="connsiteX0" fmla="*/ 167149 w 3424021"/>
              <a:gd name="connsiteY0" fmla="*/ 167148 h 2752319"/>
              <a:gd name="connsiteX1" fmla="*/ 570682 w 3424021"/>
              <a:gd name="connsiteY1" fmla="*/ 0 h 2752319"/>
              <a:gd name="connsiteX2" fmla="*/ 2853340 w 3424021"/>
              <a:gd name="connsiteY2" fmla="*/ 0 h 2752319"/>
              <a:gd name="connsiteX3" fmla="*/ 3424021 w 3424021"/>
              <a:gd name="connsiteY3" fmla="*/ 570681 h 2752319"/>
              <a:gd name="connsiteX4" fmla="*/ 3424021 w 3424021"/>
              <a:gd name="connsiteY4" fmla="*/ 1158607 h 2752319"/>
              <a:gd name="connsiteX5" fmla="*/ 1915339 w 3424021"/>
              <a:gd name="connsiteY5" fmla="*/ 2667290 h 2752319"/>
              <a:gd name="connsiteX6" fmla="*/ 1504780 w 3424021"/>
              <a:gd name="connsiteY6" fmla="*/ 2667290 h 2752319"/>
              <a:gd name="connsiteX7" fmla="*/ 0 w 3424021"/>
              <a:gd name="connsiteY7" fmla="*/ 1162509 h 2752319"/>
              <a:gd name="connsiteX8" fmla="*/ 0 w 3424021"/>
              <a:gd name="connsiteY8" fmla="*/ 570681 h 2752319"/>
              <a:gd name="connsiteX9" fmla="*/ 167149 w 3424021"/>
              <a:gd name="connsiteY9" fmla="*/ 167148 h 275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4021" h="2752319">
                <a:moveTo>
                  <a:pt x="167149" y="167148"/>
                </a:moveTo>
                <a:cubicBezTo>
                  <a:pt x="270422" y="63875"/>
                  <a:pt x="413093" y="0"/>
                  <a:pt x="570682" y="0"/>
                </a:cubicBezTo>
                <a:lnTo>
                  <a:pt x="2853340" y="0"/>
                </a:lnTo>
                <a:cubicBezTo>
                  <a:pt x="3168517" y="0"/>
                  <a:pt x="3424021" y="255503"/>
                  <a:pt x="3424021" y="570681"/>
                </a:cubicBezTo>
                <a:lnTo>
                  <a:pt x="3424021" y="1158607"/>
                </a:lnTo>
                <a:lnTo>
                  <a:pt x="1915339" y="2667290"/>
                </a:lnTo>
                <a:cubicBezTo>
                  <a:pt x="1801967" y="2780662"/>
                  <a:pt x="1618153" y="2780662"/>
                  <a:pt x="1504780" y="2667290"/>
                </a:cubicBezTo>
                <a:lnTo>
                  <a:pt x="0" y="1162509"/>
                </a:lnTo>
                <a:lnTo>
                  <a:pt x="0" y="570681"/>
                </a:lnTo>
                <a:cubicBezTo>
                  <a:pt x="0" y="413092"/>
                  <a:pt x="63876" y="270421"/>
                  <a:pt x="167149" y="167148"/>
                </a:cubicBezTo>
                <a:close/>
              </a:path>
            </a:pathLst>
          </a:cu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2AA6603-2522-41C3-BF24-A88FBE902D79}"/>
              </a:ext>
            </a:extLst>
          </p:cNvPr>
          <p:cNvSpPr/>
          <p:nvPr/>
        </p:nvSpPr>
        <p:spPr>
          <a:xfrm>
            <a:off x="252202" y="32588"/>
            <a:ext cx="431800" cy="431800"/>
          </a:xfrm>
          <a:prstGeom prst="ellipse">
            <a:avLst/>
          </a:pr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56BAE98-0B73-4DB3-8A1D-D88C73F4C386}"/>
              </a:ext>
            </a:extLst>
          </p:cNvPr>
          <p:cNvSpPr/>
          <p:nvPr/>
        </p:nvSpPr>
        <p:spPr>
          <a:xfrm>
            <a:off x="886830" y="32588"/>
            <a:ext cx="431800" cy="431800"/>
          </a:xfrm>
          <a:prstGeom prst="ellipse">
            <a:avLst/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887CF6-81CE-479D-9AEF-A418B8F38644}"/>
              </a:ext>
            </a:extLst>
          </p:cNvPr>
          <p:cNvSpPr/>
          <p:nvPr/>
        </p:nvSpPr>
        <p:spPr>
          <a:xfrm>
            <a:off x="1472284" y="32588"/>
            <a:ext cx="431800" cy="431800"/>
          </a:xfrm>
          <a:prstGeom prst="ellipse">
            <a:avLst/>
          </a:prstGeom>
          <a:solidFill>
            <a:srgbClr val="54EE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A1B7BF8-6D7F-4815-9E00-8E80ADAD657A}"/>
              </a:ext>
            </a:extLst>
          </p:cNvPr>
          <p:cNvSpPr txBox="1">
            <a:spLocks/>
          </p:cNvSpPr>
          <p:nvPr/>
        </p:nvSpPr>
        <p:spPr>
          <a:xfrm>
            <a:off x="2805249" y="1217951"/>
            <a:ext cx="6748386" cy="9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800" dirty="0">
                <a:solidFill>
                  <a:srgbClr val="577EE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earch Objectives</a:t>
            </a:r>
          </a:p>
        </p:txBody>
      </p:sp>
      <p:pic>
        <p:nvPicPr>
          <p:cNvPr id="3" name="Graphic 2" descr="Right Brain with solid fill">
            <a:extLst>
              <a:ext uri="{FF2B5EF4-FFF2-40B4-BE49-F238E27FC236}">
                <a16:creationId xmlns:a16="http://schemas.microsoft.com/office/drawing/2014/main" id="{4B15C93F-A9B2-41A5-A69F-1C9B5480DD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13614" y="737192"/>
            <a:ext cx="1673252" cy="18274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BCFC08-F247-4D42-9493-34CB08ED5B90}"/>
              </a:ext>
            </a:extLst>
          </p:cNvPr>
          <p:cNvSpPr txBox="1"/>
          <p:nvPr/>
        </p:nvSpPr>
        <p:spPr>
          <a:xfrm>
            <a:off x="2438400" y="2635819"/>
            <a:ext cx="864846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MY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entify the level of Stress among primary school students towards STEM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MY" sz="2800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MY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alyse the correlation between emotion and stress among primary school students by using neural networks</a:t>
            </a:r>
            <a:r>
              <a:rPr lang="en-MY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9736349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AEF82C-3D86-417E-9C1D-0CE47BE29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05333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B24F82C-4197-499A-8E01-F26189127D07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FF9F2414-84E8-453E-B1F3-389FDE819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976344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362" name="Picture 2" descr="Thank you Slide|Contact Us|Single">
            <a:extLst>
              <a:ext uri="{FF2B5EF4-FFF2-40B4-BE49-F238E27FC236}">
                <a16:creationId xmlns:a16="http://schemas.microsoft.com/office/drawing/2014/main" id="{3C7AE824-4D85-4D9B-9810-E1BB3CFFA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43941" y="643467"/>
            <a:ext cx="9904117" cy="5571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3ECA69A1-7536-43AC-85EF-C7106179F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604080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124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2D5C86-EE6E-4BA8-AA19-5F762DC66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2D5C86-EE6E-4BA8-AA19-5F762DC66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222">
            <a:extLst>
              <a:ext uri="{FF2B5EF4-FFF2-40B4-BE49-F238E27FC236}">
                <a16:creationId xmlns:a16="http://schemas.microsoft.com/office/drawing/2014/main" id="{1851C08D-F5C2-4B56-A826-D6A7C2F16DA6}"/>
              </a:ext>
            </a:extLst>
          </p:cNvPr>
          <p:cNvSpPr/>
          <p:nvPr/>
        </p:nvSpPr>
        <p:spPr>
          <a:xfrm rot="2700000" flipH="1" flipV="1">
            <a:off x="6299022" y="-1438935"/>
            <a:ext cx="3783578" cy="324282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223">
            <a:extLst>
              <a:ext uri="{FF2B5EF4-FFF2-40B4-BE49-F238E27FC236}">
                <a16:creationId xmlns:a16="http://schemas.microsoft.com/office/drawing/2014/main" id="{327CB7A5-986A-4D86-B592-40BC19B55676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222">
            <a:extLst>
              <a:ext uri="{FF2B5EF4-FFF2-40B4-BE49-F238E27FC236}">
                <a16:creationId xmlns:a16="http://schemas.microsoft.com/office/drawing/2014/main" id="{5D86BF0B-E077-4A3A-813F-69DF24977F2F}"/>
              </a:ext>
            </a:extLst>
          </p:cNvPr>
          <p:cNvSpPr/>
          <p:nvPr/>
        </p:nvSpPr>
        <p:spPr>
          <a:xfrm rot="2700000">
            <a:off x="1548088" y="5528190"/>
            <a:ext cx="2804649" cy="240380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223">
            <a:extLst>
              <a:ext uri="{FF2B5EF4-FFF2-40B4-BE49-F238E27FC236}">
                <a16:creationId xmlns:a16="http://schemas.microsoft.com/office/drawing/2014/main" id="{AA0879E0-C170-4515-B0EB-9EAACC63A0C0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A4DFEA-5F92-40FB-83B6-57778A99B173}"/>
              </a:ext>
            </a:extLst>
          </p:cNvPr>
          <p:cNvSpPr/>
          <p:nvPr/>
        </p:nvSpPr>
        <p:spPr>
          <a:xfrm>
            <a:off x="698500" y="737192"/>
            <a:ext cx="10561976" cy="536565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34A0110-9254-4E0E-B83F-6D7CB4D58C7A}"/>
              </a:ext>
            </a:extLst>
          </p:cNvPr>
          <p:cNvSpPr/>
          <p:nvPr/>
        </p:nvSpPr>
        <p:spPr>
          <a:xfrm rot="18900000" flipV="1">
            <a:off x="-235657" y="552253"/>
            <a:ext cx="2586699" cy="1934523"/>
          </a:xfrm>
          <a:custGeom>
            <a:avLst/>
            <a:gdLst>
              <a:gd name="connsiteX0" fmla="*/ 167149 w 3424021"/>
              <a:gd name="connsiteY0" fmla="*/ 167148 h 2752319"/>
              <a:gd name="connsiteX1" fmla="*/ 570682 w 3424021"/>
              <a:gd name="connsiteY1" fmla="*/ 0 h 2752319"/>
              <a:gd name="connsiteX2" fmla="*/ 2853340 w 3424021"/>
              <a:gd name="connsiteY2" fmla="*/ 0 h 2752319"/>
              <a:gd name="connsiteX3" fmla="*/ 3424021 w 3424021"/>
              <a:gd name="connsiteY3" fmla="*/ 570681 h 2752319"/>
              <a:gd name="connsiteX4" fmla="*/ 3424021 w 3424021"/>
              <a:gd name="connsiteY4" fmla="*/ 1158607 h 2752319"/>
              <a:gd name="connsiteX5" fmla="*/ 1915339 w 3424021"/>
              <a:gd name="connsiteY5" fmla="*/ 2667290 h 2752319"/>
              <a:gd name="connsiteX6" fmla="*/ 1504780 w 3424021"/>
              <a:gd name="connsiteY6" fmla="*/ 2667290 h 2752319"/>
              <a:gd name="connsiteX7" fmla="*/ 0 w 3424021"/>
              <a:gd name="connsiteY7" fmla="*/ 1162509 h 2752319"/>
              <a:gd name="connsiteX8" fmla="*/ 0 w 3424021"/>
              <a:gd name="connsiteY8" fmla="*/ 570681 h 2752319"/>
              <a:gd name="connsiteX9" fmla="*/ 167149 w 3424021"/>
              <a:gd name="connsiteY9" fmla="*/ 167148 h 275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4021" h="2752319">
                <a:moveTo>
                  <a:pt x="167149" y="167148"/>
                </a:moveTo>
                <a:cubicBezTo>
                  <a:pt x="270422" y="63875"/>
                  <a:pt x="413093" y="0"/>
                  <a:pt x="570682" y="0"/>
                </a:cubicBezTo>
                <a:lnTo>
                  <a:pt x="2853340" y="0"/>
                </a:lnTo>
                <a:cubicBezTo>
                  <a:pt x="3168517" y="0"/>
                  <a:pt x="3424021" y="255503"/>
                  <a:pt x="3424021" y="570681"/>
                </a:cubicBezTo>
                <a:lnTo>
                  <a:pt x="3424021" y="1158607"/>
                </a:lnTo>
                <a:lnTo>
                  <a:pt x="1915339" y="2667290"/>
                </a:lnTo>
                <a:cubicBezTo>
                  <a:pt x="1801967" y="2780662"/>
                  <a:pt x="1618153" y="2780662"/>
                  <a:pt x="1504780" y="2667290"/>
                </a:cubicBezTo>
                <a:lnTo>
                  <a:pt x="0" y="1162509"/>
                </a:lnTo>
                <a:lnTo>
                  <a:pt x="0" y="570681"/>
                </a:lnTo>
                <a:cubicBezTo>
                  <a:pt x="0" y="413092"/>
                  <a:pt x="63876" y="270421"/>
                  <a:pt x="167149" y="167148"/>
                </a:cubicBezTo>
                <a:close/>
              </a:path>
            </a:pathLst>
          </a:cu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2AA6603-2522-41C3-BF24-A88FBE902D79}"/>
              </a:ext>
            </a:extLst>
          </p:cNvPr>
          <p:cNvSpPr/>
          <p:nvPr/>
        </p:nvSpPr>
        <p:spPr>
          <a:xfrm>
            <a:off x="252202" y="32588"/>
            <a:ext cx="431800" cy="431800"/>
          </a:xfrm>
          <a:prstGeom prst="ellipse">
            <a:avLst/>
          </a:pr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56BAE98-0B73-4DB3-8A1D-D88C73F4C386}"/>
              </a:ext>
            </a:extLst>
          </p:cNvPr>
          <p:cNvSpPr/>
          <p:nvPr/>
        </p:nvSpPr>
        <p:spPr>
          <a:xfrm>
            <a:off x="886830" y="32588"/>
            <a:ext cx="431800" cy="431800"/>
          </a:xfrm>
          <a:prstGeom prst="ellipse">
            <a:avLst/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887CF6-81CE-479D-9AEF-A418B8F38644}"/>
              </a:ext>
            </a:extLst>
          </p:cNvPr>
          <p:cNvSpPr/>
          <p:nvPr/>
        </p:nvSpPr>
        <p:spPr>
          <a:xfrm>
            <a:off x="1472284" y="32588"/>
            <a:ext cx="431800" cy="431800"/>
          </a:xfrm>
          <a:prstGeom prst="ellipse">
            <a:avLst/>
          </a:prstGeom>
          <a:solidFill>
            <a:srgbClr val="54EE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A1B7BF8-6D7F-4815-9E00-8E80ADAD657A}"/>
              </a:ext>
            </a:extLst>
          </p:cNvPr>
          <p:cNvSpPr txBox="1">
            <a:spLocks/>
          </p:cNvSpPr>
          <p:nvPr/>
        </p:nvSpPr>
        <p:spPr>
          <a:xfrm>
            <a:off x="2617923" y="1207786"/>
            <a:ext cx="6748386" cy="9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800" dirty="0">
                <a:solidFill>
                  <a:srgbClr val="577EE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earch Significance</a:t>
            </a:r>
          </a:p>
        </p:txBody>
      </p:sp>
      <p:pic>
        <p:nvPicPr>
          <p:cNvPr id="3" name="Graphic 2" descr="Right Brain with solid fill">
            <a:extLst>
              <a:ext uri="{FF2B5EF4-FFF2-40B4-BE49-F238E27FC236}">
                <a16:creationId xmlns:a16="http://schemas.microsoft.com/office/drawing/2014/main" id="{4B15C93F-A9B2-41A5-A69F-1C9B5480DD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13614" y="737192"/>
            <a:ext cx="1673252" cy="18274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8F9C046-7033-498A-9413-177A2FFFA6B7}"/>
              </a:ext>
            </a:extLst>
          </p:cNvPr>
          <p:cNvSpPr txBox="1"/>
          <p:nvPr/>
        </p:nvSpPr>
        <p:spPr>
          <a:xfrm>
            <a:off x="2617923" y="2840159"/>
            <a:ext cx="75002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Wingdings" panose="05000000000000000000" pitchFamily="2" charset="2"/>
              <a:buChar char="v"/>
            </a:pPr>
            <a:r>
              <a:rPr lang="en-MY" sz="3600" dirty="0"/>
              <a:t>Who and how  will be benefited  from this research?</a:t>
            </a:r>
          </a:p>
        </p:txBody>
      </p:sp>
    </p:spTree>
    <p:extLst>
      <p:ext uri="{BB962C8B-B14F-4D97-AF65-F5344CB8AC3E}">
        <p14:creationId xmlns:p14="http://schemas.microsoft.com/office/powerpoint/2010/main" val="16011564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CD655-9626-49DA-B9DD-02A228125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4F82C-4197-499A-8E01-F26189127D07}" type="slidenum">
              <a:rPr lang="en-US" smtClean="0"/>
              <a:t>4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6E37F1A-64F6-4B5E-9FB7-DC0B0755C9D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925" y="108992"/>
            <a:ext cx="11360150" cy="7977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000" dirty="0">
                <a:solidFill>
                  <a:srgbClr val="577EE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earch Protocol</a:t>
            </a:r>
          </a:p>
        </p:txBody>
      </p:sp>
      <p:pic>
        <p:nvPicPr>
          <p:cNvPr id="11" name="Content Placeholder 10" descr="Diagram, text&#10;&#10;Description automatically generated">
            <a:extLst>
              <a:ext uri="{FF2B5EF4-FFF2-40B4-BE49-F238E27FC236}">
                <a16:creationId xmlns:a16="http://schemas.microsoft.com/office/drawing/2014/main" id="{45593E03-A5D6-4637-8C26-D41E5B9DF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" y="1351147"/>
            <a:ext cx="5669280" cy="4287653"/>
          </a:xfrm>
        </p:spPr>
      </p:pic>
      <p:pic>
        <p:nvPicPr>
          <p:cNvPr id="13" name="Picture 12" descr="Diagram, shape, circle&#10;&#10;Description automatically generated">
            <a:extLst>
              <a:ext uri="{FF2B5EF4-FFF2-40B4-BE49-F238E27FC236}">
                <a16:creationId xmlns:a16="http://schemas.microsoft.com/office/drawing/2014/main" id="{22493400-B5DB-468B-8488-0F9449D7EE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220" y="2177162"/>
            <a:ext cx="3218180" cy="29088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6F37731-1B85-4236-8FAA-FA00B19E1BF8}"/>
              </a:ext>
            </a:extLst>
          </p:cNvPr>
          <p:cNvSpPr txBox="1"/>
          <p:nvPr/>
        </p:nvSpPr>
        <p:spPr>
          <a:xfrm>
            <a:off x="2174240" y="5898507"/>
            <a:ext cx="3068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b="1" dirty="0"/>
              <a:t>Figure 1.  Experimental Desig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BC1541-7372-46FD-AA96-8E7DAD8CCCE3}"/>
              </a:ext>
            </a:extLst>
          </p:cNvPr>
          <p:cNvSpPr txBox="1"/>
          <p:nvPr/>
        </p:nvSpPr>
        <p:spPr>
          <a:xfrm>
            <a:off x="7856220" y="5536490"/>
            <a:ext cx="3068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b="1" dirty="0"/>
              <a:t>Figure 2.  Electrode Placement</a:t>
            </a:r>
          </a:p>
        </p:txBody>
      </p:sp>
      <p:pic>
        <p:nvPicPr>
          <p:cNvPr id="18" name="Graphic 17" descr="Right Brain with solid fill">
            <a:extLst>
              <a:ext uri="{FF2B5EF4-FFF2-40B4-BE49-F238E27FC236}">
                <a16:creationId xmlns:a16="http://schemas.microsoft.com/office/drawing/2014/main" id="{C174EB36-9B5E-43CA-BBB1-ABF3B8ED2B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37774" y="-103990"/>
            <a:ext cx="1673252" cy="1827481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1C973A2-54CA-4B9B-85A4-C69259DFEB55}"/>
              </a:ext>
            </a:extLst>
          </p:cNvPr>
          <p:cNvSpPr/>
          <p:nvPr/>
        </p:nvSpPr>
        <p:spPr>
          <a:xfrm rot="18900000" flipV="1">
            <a:off x="-233671" y="-46791"/>
            <a:ext cx="1479346" cy="1109350"/>
          </a:xfrm>
          <a:custGeom>
            <a:avLst/>
            <a:gdLst>
              <a:gd name="connsiteX0" fmla="*/ 167149 w 3424021"/>
              <a:gd name="connsiteY0" fmla="*/ 167148 h 2752319"/>
              <a:gd name="connsiteX1" fmla="*/ 570682 w 3424021"/>
              <a:gd name="connsiteY1" fmla="*/ 0 h 2752319"/>
              <a:gd name="connsiteX2" fmla="*/ 2853340 w 3424021"/>
              <a:gd name="connsiteY2" fmla="*/ 0 h 2752319"/>
              <a:gd name="connsiteX3" fmla="*/ 3424021 w 3424021"/>
              <a:gd name="connsiteY3" fmla="*/ 570681 h 2752319"/>
              <a:gd name="connsiteX4" fmla="*/ 3424021 w 3424021"/>
              <a:gd name="connsiteY4" fmla="*/ 1158607 h 2752319"/>
              <a:gd name="connsiteX5" fmla="*/ 1915339 w 3424021"/>
              <a:gd name="connsiteY5" fmla="*/ 2667290 h 2752319"/>
              <a:gd name="connsiteX6" fmla="*/ 1504780 w 3424021"/>
              <a:gd name="connsiteY6" fmla="*/ 2667290 h 2752319"/>
              <a:gd name="connsiteX7" fmla="*/ 0 w 3424021"/>
              <a:gd name="connsiteY7" fmla="*/ 1162509 h 2752319"/>
              <a:gd name="connsiteX8" fmla="*/ 0 w 3424021"/>
              <a:gd name="connsiteY8" fmla="*/ 570681 h 2752319"/>
              <a:gd name="connsiteX9" fmla="*/ 167149 w 3424021"/>
              <a:gd name="connsiteY9" fmla="*/ 167148 h 275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4021" h="2752319">
                <a:moveTo>
                  <a:pt x="167149" y="167148"/>
                </a:moveTo>
                <a:cubicBezTo>
                  <a:pt x="270422" y="63875"/>
                  <a:pt x="413093" y="0"/>
                  <a:pt x="570682" y="0"/>
                </a:cubicBezTo>
                <a:lnTo>
                  <a:pt x="2853340" y="0"/>
                </a:lnTo>
                <a:cubicBezTo>
                  <a:pt x="3168517" y="0"/>
                  <a:pt x="3424021" y="255503"/>
                  <a:pt x="3424021" y="570681"/>
                </a:cubicBezTo>
                <a:lnTo>
                  <a:pt x="3424021" y="1158607"/>
                </a:lnTo>
                <a:lnTo>
                  <a:pt x="1915339" y="2667290"/>
                </a:lnTo>
                <a:cubicBezTo>
                  <a:pt x="1801967" y="2780662"/>
                  <a:pt x="1618153" y="2780662"/>
                  <a:pt x="1504780" y="2667290"/>
                </a:cubicBezTo>
                <a:lnTo>
                  <a:pt x="0" y="1162509"/>
                </a:lnTo>
                <a:lnTo>
                  <a:pt x="0" y="570681"/>
                </a:lnTo>
                <a:cubicBezTo>
                  <a:pt x="0" y="413092"/>
                  <a:pt x="63876" y="270421"/>
                  <a:pt x="167149" y="167148"/>
                </a:cubicBezTo>
                <a:close/>
              </a:path>
            </a:pathLst>
          </a:cu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486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2D5C86-EE6E-4BA8-AA19-5F762DC66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2D5C86-EE6E-4BA8-AA19-5F762DC66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62AA6603-2522-41C3-BF24-A88FBE902D79}"/>
              </a:ext>
            </a:extLst>
          </p:cNvPr>
          <p:cNvSpPr/>
          <p:nvPr/>
        </p:nvSpPr>
        <p:spPr>
          <a:xfrm>
            <a:off x="252202" y="32588"/>
            <a:ext cx="431800" cy="431800"/>
          </a:xfrm>
          <a:prstGeom prst="ellipse">
            <a:avLst/>
          </a:pr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56BAE98-0B73-4DB3-8A1D-D88C73F4C386}"/>
              </a:ext>
            </a:extLst>
          </p:cNvPr>
          <p:cNvSpPr/>
          <p:nvPr/>
        </p:nvSpPr>
        <p:spPr>
          <a:xfrm>
            <a:off x="886830" y="32588"/>
            <a:ext cx="431800" cy="431800"/>
          </a:xfrm>
          <a:prstGeom prst="ellipse">
            <a:avLst/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887CF6-81CE-479D-9AEF-A418B8F38644}"/>
              </a:ext>
            </a:extLst>
          </p:cNvPr>
          <p:cNvSpPr/>
          <p:nvPr/>
        </p:nvSpPr>
        <p:spPr>
          <a:xfrm>
            <a:off x="1472284" y="32588"/>
            <a:ext cx="431800" cy="431800"/>
          </a:xfrm>
          <a:prstGeom prst="ellipse">
            <a:avLst/>
          </a:prstGeom>
          <a:solidFill>
            <a:srgbClr val="54EE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A1B7BF8-6D7F-4815-9E00-8E80ADAD657A}"/>
              </a:ext>
            </a:extLst>
          </p:cNvPr>
          <p:cNvSpPr txBox="1">
            <a:spLocks/>
          </p:cNvSpPr>
          <p:nvPr/>
        </p:nvSpPr>
        <p:spPr>
          <a:xfrm>
            <a:off x="4223657" y="-97786"/>
            <a:ext cx="3849610" cy="7977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000" dirty="0">
                <a:solidFill>
                  <a:srgbClr val="577EE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thodology</a:t>
            </a:r>
          </a:p>
        </p:txBody>
      </p:sp>
      <p:pic>
        <p:nvPicPr>
          <p:cNvPr id="3" name="Graphic 2" descr="Right Brain with solid fill">
            <a:extLst>
              <a:ext uri="{FF2B5EF4-FFF2-40B4-BE49-F238E27FC236}">
                <a16:creationId xmlns:a16="http://schemas.microsoft.com/office/drawing/2014/main" id="{4B15C93F-A9B2-41A5-A69F-1C9B5480DD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90019" y="0"/>
            <a:ext cx="1673252" cy="1827481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6D47BF09-758D-47B5-9270-9880FEB7CF2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2" y="915080"/>
            <a:ext cx="8479971" cy="1653950"/>
          </a:xfrm>
          <a:prstGeom prst="rect">
            <a:avLst/>
          </a:prstGeom>
        </p:spPr>
      </p:pic>
      <p:pic>
        <p:nvPicPr>
          <p:cNvPr id="20" name="Picture 19" descr="Diagram&#10;&#10;Description automatically generated">
            <a:extLst>
              <a:ext uri="{FF2B5EF4-FFF2-40B4-BE49-F238E27FC236}">
                <a16:creationId xmlns:a16="http://schemas.microsoft.com/office/drawing/2014/main" id="{31FF8A8F-1788-439B-9B97-1AD9296FBD0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171" y="3026559"/>
            <a:ext cx="5584372" cy="308065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C253C6D-BB96-4583-A353-27D0771788B3}"/>
              </a:ext>
            </a:extLst>
          </p:cNvPr>
          <p:cNvSpPr txBox="1"/>
          <p:nvPr/>
        </p:nvSpPr>
        <p:spPr>
          <a:xfrm>
            <a:off x="4575020" y="2489116"/>
            <a:ext cx="3404210" cy="530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MY" sz="105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US" sz="105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Figure 3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Data Analysis Process</a:t>
            </a:r>
            <a:endParaRPr lang="en-MY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5F6D143-93EF-47F2-81EC-F68FCB931ED9}"/>
              </a:ext>
            </a:extLst>
          </p:cNvPr>
          <p:cNvSpPr txBox="1"/>
          <p:nvPr/>
        </p:nvSpPr>
        <p:spPr>
          <a:xfrm>
            <a:off x="4480982" y="6033830"/>
            <a:ext cx="3592285" cy="530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MY" sz="105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US" sz="105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Figure 4 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Russel’s Model Of Affect</a:t>
            </a:r>
            <a:endParaRPr lang="en-MY" dirty="0"/>
          </a:p>
        </p:txBody>
      </p:sp>
      <p:sp>
        <p:nvSpPr>
          <p:cNvPr id="28" name="Freeform 223">
            <a:extLst>
              <a:ext uri="{FF2B5EF4-FFF2-40B4-BE49-F238E27FC236}">
                <a16:creationId xmlns:a16="http://schemas.microsoft.com/office/drawing/2014/main" id="{67D67384-F3E7-44D3-B11D-AA7C119C3A3A}"/>
              </a:ext>
            </a:extLst>
          </p:cNvPr>
          <p:cNvSpPr/>
          <p:nvPr/>
        </p:nvSpPr>
        <p:spPr>
          <a:xfrm rot="2700000">
            <a:off x="-182940" y="5801103"/>
            <a:ext cx="1608986" cy="996369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998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2D5C86-EE6E-4BA8-AA19-5F762DC66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2D5C86-EE6E-4BA8-AA19-5F762DC66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222">
            <a:extLst>
              <a:ext uri="{FF2B5EF4-FFF2-40B4-BE49-F238E27FC236}">
                <a16:creationId xmlns:a16="http://schemas.microsoft.com/office/drawing/2014/main" id="{1851C08D-F5C2-4B56-A826-D6A7C2F16DA6}"/>
              </a:ext>
            </a:extLst>
          </p:cNvPr>
          <p:cNvSpPr/>
          <p:nvPr/>
        </p:nvSpPr>
        <p:spPr>
          <a:xfrm rot="2700000" flipH="1" flipV="1">
            <a:off x="6299022" y="-1438935"/>
            <a:ext cx="3783578" cy="324282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223">
            <a:extLst>
              <a:ext uri="{FF2B5EF4-FFF2-40B4-BE49-F238E27FC236}">
                <a16:creationId xmlns:a16="http://schemas.microsoft.com/office/drawing/2014/main" id="{327CB7A5-986A-4D86-B592-40BC19B55676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222">
            <a:extLst>
              <a:ext uri="{FF2B5EF4-FFF2-40B4-BE49-F238E27FC236}">
                <a16:creationId xmlns:a16="http://schemas.microsoft.com/office/drawing/2014/main" id="{5D86BF0B-E077-4A3A-813F-69DF24977F2F}"/>
              </a:ext>
            </a:extLst>
          </p:cNvPr>
          <p:cNvSpPr/>
          <p:nvPr/>
        </p:nvSpPr>
        <p:spPr>
          <a:xfrm rot="2700000">
            <a:off x="1548088" y="5528190"/>
            <a:ext cx="2804649" cy="2403809"/>
          </a:xfrm>
          <a:custGeom>
            <a:avLst/>
            <a:gdLst>
              <a:gd name="connsiteX0" fmla="*/ 225490 w 3783578"/>
              <a:gd name="connsiteY0" fmla="*/ 225490 h 3242829"/>
              <a:gd name="connsiteX1" fmla="*/ 769871 w 3783578"/>
              <a:gd name="connsiteY1" fmla="*/ 0 h 3242829"/>
              <a:gd name="connsiteX2" fmla="*/ 3783578 w 3783578"/>
              <a:gd name="connsiteY2" fmla="*/ 0 h 3242829"/>
              <a:gd name="connsiteX3" fmla="*/ 540749 w 3783578"/>
              <a:gd name="connsiteY3" fmla="*/ 3242829 h 3242829"/>
              <a:gd name="connsiteX4" fmla="*/ 0 w 3783578"/>
              <a:gd name="connsiteY4" fmla="*/ 2702079 h 3242829"/>
              <a:gd name="connsiteX5" fmla="*/ 0 w 3783578"/>
              <a:gd name="connsiteY5" fmla="*/ 769871 h 3242829"/>
              <a:gd name="connsiteX6" fmla="*/ 225490 w 3783578"/>
              <a:gd name="connsiteY6" fmla="*/ 225490 h 3242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578" h="3242829">
                <a:moveTo>
                  <a:pt x="225490" y="225490"/>
                </a:moveTo>
                <a:cubicBezTo>
                  <a:pt x="364809" y="86170"/>
                  <a:pt x="557278" y="0"/>
                  <a:pt x="769871" y="0"/>
                </a:cubicBezTo>
                <a:lnTo>
                  <a:pt x="3783578" y="0"/>
                </a:lnTo>
                <a:lnTo>
                  <a:pt x="540749" y="3242829"/>
                </a:lnTo>
                <a:lnTo>
                  <a:pt x="0" y="2702079"/>
                </a:lnTo>
                <a:lnTo>
                  <a:pt x="0" y="769871"/>
                </a:lnTo>
                <a:cubicBezTo>
                  <a:pt x="0" y="557277"/>
                  <a:pt x="86172" y="364810"/>
                  <a:pt x="225490" y="225490"/>
                </a:cubicBezTo>
                <a:close/>
              </a:path>
            </a:pathLst>
          </a:cu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223">
            <a:extLst>
              <a:ext uri="{FF2B5EF4-FFF2-40B4-BE49-F238E27FC236}">
                <a16:creationId xmlns:a16="http://schemas.microsoft.com/office/drawing/2014/main" id="{AA0879E0-C170-4515-B0EB-9EAACC63A0C0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gradFill>
            <a:gsLst>
              <a:gs pos="0">
                <a:srgbClr val="1A4DDC"/>
              </a:gs>
              <a:gs pos="63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AA4DFEA-5F92-40FB-83B6-57778A99B173}"/>
              </a:ext>
            </a:extLst>
          </p:cNvPr>
          <p:cNvSpPr/>
          <p:nvPr/>
        </p:nvSpPr>
        <p:spPr>
          <a:xfrm>
            <a:off x="698500" y="737192"/>
            <a:ext cx="10561976" cy="536565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34A0110-9254-4E0E-B83F-6D7CB4D58C7A}"/>
              </a:ext>
            </a:extLst>
          </p:cNvPr>
          <p:cNvSpPr/>
          <p:nvPr/>
        </p:nvSpPr>
        <p:spPr>
          <a:xfrm rot="18900000" flipV="1">
            <a:off x="104955" y="477307"/>
            <a:ext cx="3424021" cy="2752319"/>
          </a:xfrm>
          <a:custGeom>
            <a:avLst/>
            <a:gdLst>
              <a:gd name="connsiteX0" fmla="*/ 167149 w 3424021"/>
              <a:gd name="connsiteY0" fmla="*/ 167148 h 2752319"/>
              <a:gd name="connsiteX1" fmla="*/ 570682 w 3424021"/>
              <a:gd name="connsiteY1" fmla="*/ 0 h 2752319"/>
              <a:gd name="connsiteX2" fmla="*/ 2853340 w 3424021"/>
              <a:gd name="connsiteY2" fmla="*/ 0 h 2752319"/>
              <a:gd name="connsiteX3" fmla="*/ 3424021 w 3424021"/>
              <a:gd name="connsiteY3" fmla="*/ 570681 h 2752319"/>
              <a:gd name="connsiteX4" fmla="*/ 3424021 w 3424021"/>
              <a:gd name="connsiteY4" fmla="*/ 1158607 h 2752319"/>
              <a:gd name="connsiteX5" fmla="*/ 1915339 w 3424021"/>
              <a:gd name="connsiteY5" fmla="*/ 2667290 h 2752319"/>
              <a:gd name="connsiteX6" fmla="*/ 1504780 w 3424021"/>
              <a:gd name="connsiteY6" fmla="*/ 2667290 h 2752319"/>
              <a:gd name="connsiteX7" fmla="*/ 0 w 3424021"/>
              <a:gd name="connsiteY7" fmla="*/ 1162509 h 2752319"/>
              <a:gd name="connsiteX8" fmla="*/ 0 w 3424021"/>
              <a:gd name="connsiteY8" fmla="*/ 570681 h 2752319"/>
              <a:gd name="connsiteX9" fmla="*/ 167149 w 3424021"/>
              <a:gd name="connsiteY9" fmla="*/ 167148 h 275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4021" h="2752319">
                <a:moveTo>
                  <a:pt x="167149" y="167148"/>
                </a:moveTo>
                <a:cubicBezTo>
                  <a:pt x="270422" y="63875"/>
                  <a:pt x="413093" y="0"/>
                  <a:pt x="570682" y="0"/>
                </a:cubicBezTo>
                <a:lnTo>
                  <a:pt x="2853340" y="0"/>
                </a:lnTo>
                <a:cubicBezTo>
                  <a:pt x="3168517" y="0"/>
                  <a:pt x="3424021" y="255503"/>
                  <a:pt x="3424021" y="570681"/>
                </a:cubicBezTo>
                <a:lnTo>
                  <a:pt x="3424021" y="1158607"/>
                </a:lnTo>
                <a:lnTo>
                  <a:pt x="1915339" y="2667290"/>
                </a:lnTo>
                <a:cubicBezTo>
                  <a:pt x="1801967" y="2780662"/>
                  <a:pt x="1618153" y="2780662"/>
                  <a:pt x="1504780" y="2667290"/>
                </a:cubicBezTo>
                <a:lnTo>
                  <a:pt x="0" y="1162509"/>
                </a:lnTo>
                <a:lnTo>
                  <a:pt x="0" y="570681"/>
                </a:lnTo>
                <a:cubicBezTo>
                  <a:pt x="0" y="413092"/>
                  <a:pt x="63876" y="270421"/>
                  <a:pt x="167149" y="167148"/>
                </a:cubicBezTo>
                <a:close/>
              </a:path>
            </a:pathLst>
          </a:cu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2AA6603-2522-41C3-BF24-A88FBE902D79}"/>
              </a:ext>
            </a:extLst>
          </p:cNvPr>
          <p:cNvSpPr/>
          <p:nvPr/>
        </p:nvSpPr>
        <p:spPr>
          <a:xfrm>
            <a:off x="252202" y="32588"/>
            <a:ext cx="431800" cy="431800"/>
          </a:xfrm>
          <a:prstGeom prst="ellipse">
            <a:avLst/>
          </a:pr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56BAE98-0B73-4DB3-8A1D-D88C73F4C386}"/>
              </a:ext>
            </a:extLst>
          </p:cNvPr>
          <p:cNvSpPr/>
          <p:nvPr/>
        </p:nvSpPr>
        <p:spPr>
          <a:xfrm>
            <a:off x="886830" y="32588"/>
            <a:ext cx="431800" cy="431800"/>
          </a:xfrm>
          <a:prstGeom prst="ellipse">
            <a:avLst/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B887CF6-81CE-479D-9AEF-A418B8F38644}"/>
              </a:ext>
            </a:extLst>
          </p:cNvPr>
          <p:cNvSpPr/>
          <p:nvPr/>
        </p:nvSpPr>
        <p:spPr>
          <a:xfrm>
            <a:off x="1472284" y="32588"/>
            <a:ext cx="431800" cy="431800"/>
          </a:xfrm>
          <a:prstGeom prst="ellipse">
            <a:avLst/>
          </a:prstGeom>
          <a:solidFill>
            <a:srgbClr val="54EE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A1B7BF8-6D7F-4815-9E00-8E80ADAD657A}"/>
              </a:ext>
            </a:extLst>
          </p:cNvPr>
          <p:cNvSpPr txBox="1">
            <a:spLocks/>
          </p:cNvSpPr>
          <p:nvPr/>
        </p:nvSpPr>
        <p:spPr>
          <a:xfrm>
            <a:off x="2540755" y="3061011"/>
            <a:ext cx="6748386" cy="957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4800" dirty="0">
                <a:solidFill>
                  <a:srgbClr val="577EE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ult Analysis</a:t>
            </a:r>
          </a:p>
        </p:txBody>
      </p:sp>
      <p:pic>
        <p:nvPicPr>
          <p:cNvPr id="3" name="Graphic 2" descr="Right Brain with solid fill">
            <a:extLst>
              <a:ext uri="{FF2B5EF4-FFF2-40B4-BE49-F238E27FC236}">
                <a16:creationId xmlns:a16="http://schemas.microsoft.com/office/drawing/2014/main" id="{4B15C93F-A9B2-41A5-A69F-1C9B5480DD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13614" y="737192"/>
            <a:ext cx="1673252" cy="1827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13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>
            <a:extLst>
              <a:ext uri="{FF2B5EF4-FFF2-40B4-BE49-F238E27FC236}">
                <a16:creationId xmlns:a16="http://schemas.microsoft.com/office/drawing/2014/main" id="{5D110BAF-3082-4216-BDAE-6585E0D907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37" name="Object 336" hidden="1">
                        <a:extLst>
                          <a:ext uri="{FF2B5EF4-FFF2-40B4-BE49-F238E27FC236}">
                            <a16:creationId xmlns:a16="http://schemas.microsoft.com/office/drawing/2014/main" id="{5D110BAF-3082-4216-BDAE-6585E0D90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9" name="Rectangle: Top Corners Rounded 348">
            <a:extLst>
              <a:ext uri="{FF2B5EF4-FFF2-40B4-BE49-F238E27FC236}">
                <a16:creationId xmlns:a16="http://schemas.microsoft.com/office/drawing/2014/main" id="{9018E76F-6018-47DD-BD48-98EAB61E86AD}"/>
              </a:ext>
            </a:extLst>
          </p:cNvPr>
          <p:cNvSpPr/>
          <p:nvPr/>
        </p:nvSpPr>
        <p:spPr>
          <a:xfrm>
            <a:off x="0" y="2754086"/>
            <a:ext cx="12192000" cy="4103914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EAD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9" name="Freeform: Shape 378">
            <a:extLst>
              <a:ext uri="{FF2B5EF4-FFF2-40B4-BE49-F238E27FC236}">
                <a16:creationId xmlns:a16="http://schemas.microsoft.com/office/drawing/2014/main" id="{12DAC3D6-A2B8-436D-8EC3-2480D3D649E6}"/>
              </a:ext>
            </a:extLst>
          </p:cNvPr>
          <p:cNvSpPr/>
          <p:nvPr/>
        </p:nvSpPr>
        <p:spPr>
          <a:xfrm rot="2686512" flipH="1" flipV="1">
            <a:off x="8924726" y="-299745"/>
            <a:ext cx="4444374" cy="3368090"/>
          </a:xfrm>
          <a:custGeom>
            <a:avLst/>
            <a:gdLst>
              <a:gd name="connsiteX0" fmla="*/ 1955511 w 3566826"/>
              <a:gd name="connsiteY0" fmla="*/ 2703056 h 2703056"/>
              <a:gd name="connsiteX1" fmla="*/ 3566826 w 3566826"/>
              <a:gd name="connsiteY1" fmla="*/ 1091741 h 2703056"/>
              <a:gd name="connsiteX2" fmla="*/ 3566826 w 3566826"/>
              <a:gd name="connsiteY2" fmla="*/ 603126 h 2703056"/>
              <a:gd name="connsiteX3" fmla="*/ 2963700 w 3566826"/>
              <a:gd name="connsiteY3" fmla="*/ 0 h 2703056"/>
              <a:gd name="connsiteX4" fmla="*/ 747544 w 3566826"/>
              <a:gd name="connsiteY4" fmla="*/ 0 h 2703056"/>
              <a:gd name="connsiteX5" fmla="*/ 0 w 3566826"/>
              <a:gd name="connsiteY5" fmla="*/ 747544 h 270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66826" h="2703056">
                <a:moveTo>
                  <a:pt x="1955511" y="2703056"/>
                </a:moveTo>
                <a:lnTo>
                  <a:pt x="3566826" y="1091741"/>
                </a:lnTo>
                <a:lnTo>
                  <a:pt x="3566826" y="603126"/>
                </a:lnTo>
                <a:cubicBezTo>
                  <a:pt x="3566826" y="270029"/>
                  <a:pt x="3296796" y="0"/>
                  <a:pt x="2963700" y="0"/>
                </a:cubicBezTo>
                <a:lnTo>
                  <a:pt x="747544" y="0"/>
                </a:lnTo>
                <a:lnTo>
                  <a:pt x="0" y="747544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6" name="Rectangle: Rounded Corners 345">
            <a:extLst>
              <a:ext uri="{FF2B5EF4-FFF2-40B4-BE49-F238E27FC236}">
                <a16:creationId xmlns:a16="http://schemas.microsoft.com/office/drawing/2014/main" id="{8B1C3CC4-70A3-4622-8BAF-024608326F46}"/>
              </a:ext>
            </a:extLst>
          </p:cNvPr>
          <p:cNvSpPr/>
          <p:nvPr/>
        </p:nvSpPr>
        <p:spPr>
          <a:xfrm>
            <a:off x="2122208" y="1617663"/>
            <a:ext cx="2530165" cy="297610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chemeClr val="accent1"/>
                </a:solidFill>
                <a:latin typeface="Georgia" panose="02040502050405020303" pitchFamily="18" charset="0"/>
              </a:rPr>
              <a:t>LOW GRADE STUDENT</a:t>
            </a:r>
          </a:p>
          <a:p>
            <a:pPr algn="ctr"/>
            <a:endParaRPr lang="en-US" sz="2400" b="1" dirty="0">
              <a:solidFill>
                <a:schemeClr val="accent1"/>
              </a:solidFill>
              <a:latin typeface="Georgia" panose="02040502050405020303" pitchFamily="18" charset="0"/>
            </a:endParaRP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Subject </a:t>
            </a: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1,3 and 4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DCBB37F-D55D-4A21-BE01-48152769BDFB}"/>
              </a:ext>
            </a:extLst>
          </p:cNvPr>
          <p:cNvSpPr/>
          <p:nvPr/>
        </p:nvSpPr>
        <p:spPr>
          <a:xfrm>
            <a:off x="5518344" y="1617663"/>
            <a:ext cx="2530165" cy="297610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chemeClr val="accent1"/>
                </a:solidFill>
                <a:latin typeface="Georgia" panose="02040502050405020303" pitchFamily="18" charset="0"/>
              </a:rPr>
              <a:t>MID GRADE STUDENT</a:t>
            </a:r>
          </a:p>
          <a:p>
            <a:pPr algn="ctr"/>
            <a:endParaRPr lang="en-US" sz="2400" b="1" dirty="0">
              <a:solidFill>
                <a:schemeClr val="accent1"/>
              </a:solidFill>
              <a:latin typeface="Georgia" panose="02040502050405020303" pitchFamily="18" charset="0"/>
            </a:endParaRP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Subject</a:t>
            </a: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2 and 5 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B81361C-14D4-4D8C-B06E-257DA6B22095}"/>
              </a:ext>
            </a:extLst>
          </p:cNvPr>
          <p:cNvSpPr/>
          <p:nvPr/>
        </p:nvSpPr>
        <p:spPr>
          <a:xfrm>
            <a:off x="8914480" y="1617663"/>
            <a:ext cx="2530165" cy="297610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solidFill>
                  <a:schemeClr val="accent1"/>
                </a:solidFill>
                <a:latin typeface="Georgia" panose="02040502050405020303" pitchFamily="18" charset="0"/>
              </a:rPr>
              <a:t>HIGH GRADE STUDENT</a:t>
            </a:r>
          </a:p>
          <a:p>
            <a:pPr algn="ctr"/>
            <a:endParaRPr lang="en-US" sz="2400" b="1" dirty="0">
              <a:solidFill>
                <a:schemeClr val="accent1"/>
              </a:solidFill>
              <a:latin typeface="Georgia" panose="02040502050405020303" pitchFamily="18" charset="0"/>
            </a:endParaRP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Subject</a:t>
            </a: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6 and 7 </a:t>
            </a:r>
          </a:p>
        </p:txBody>
      </p:sp>
    </p:spTree>
    <p:extLst>
      <p:ext uri="{BB962C8B-B14F-4D97-AF65-F5344CB8AC3E}">
        <p14:creationId xmlns:p14="http://schemas.microsoft.com/office/powerpoint/2010/main" val="2610910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" name="Object 139" hidden="1">
            <a:extLst>
              <a:ext uri="{FF2B5EF4-FFF2-40B4-BE49-F238E27FC236}">
                <a16:creationId xmlns:a16="http://schemas.microsoft.com/office/drawing/2014/main" id="{51B27ADD-B445-4F7B-BCC1-FDF952C4B4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40" name="Object 139" hidden="1">
                        <a:extLst>
                          <a:ext uri="{FF2B5EF4-FFF2-40B4-BE49-F238E27FC236}">
                            <a16:creationId xmlns:a16="http://schemas.microsoft.com/office/drawing/2014/main" id="{51B27ADD-B445-4F7B-BCC1-FDF952C4B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Freeform 223">
            <a:extLst>
              <a:ext uri="{FF2B5EF4-FFF2-40B4-BE49-F238E27FC236}">
                <a16:creationId xmlns:a16="http://schemas.microsoft.com/office/drawing/2014/main" id="{97381884-7953-415F-B2A9-D7B5498B131E}"/>
              </a:ext>
            </a:extLst>
          </p:cNvPr>
          <p:cNvSpPr/>
          <p:nvPr/>
        </p:nvSpPr>
        <p:spPr>
          <a:xfrm rot="2700000" flipH="1" flipV="1">
            <a:off x="8515981" y="-581610"/>
            <a:ext cx="4619134" cy="390769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9" name="Freeform 223">
            <a:extLst>
              <a:ext uri="{FF2B5EF4-FFF2-40B4-BE49-F238E27FC236}">
                <a16:creationId xmlns:a16="http://schemas.microsoft.com/office/drawing/2014/main" id="{A2BCB6FE-AE04-4F49-B9CD-AF0A3095AD66}"/>
              </a:ext>
            </a:extLst>
          </p:cNvPr>
          <p:cNvSpPr/>
          <p:nvPr/>
        </p:nvSpPr>
        <p:spPr>
          <a:xfrm rot="2700000">
            <a:off x="-693130" y="4399835"/>
            <a:ext cx="3424021" cy="2896655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C97E203E-619F-4CB3-B490-81E108F2D48E}"/>
              </a:ext>
            </a:extLst>
          </p:cNvPr>
          <p:cNvSpPr/>
          <p:nvPr/>
        </p:nvSpPr>
        <p:spPr>
          <a:xfrm>
            <a:off x="-5086" y="1792553"/>
            <a:ext cx="12192000" cy="3761457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577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5" name="Freeform 223">
            <a:extLst>
              <a:ext uri="{FF2B5EF4-FFF2-40B4-BE49-F238E27FC236}">
                <a16:creationId xmlns:a16="http://schemas.microsoft.com/office/drawing/2014/main" id="{667AF6D6-E954-4225-914E-779D9A483B09}"/>
              </a:ext>
            </a:extLst>
          </p:cNvPr>
          <p:cNvSpPr/>
          <p:nvPr/>
        </p:nvSpPr>
        <p:spPr>
          <a:xfrm rot="2700000" flipH="1" flipV="1">
            <a:off x="10251284" y="1722827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6" name="Freeform 223">
            <a:extLst>
              <a:ext uri="{FF2B5EF4-FFF2-40B4-BE49-F238E27FC236}">
                <a16:creationId xmlns:a16="http://schemas.microsoft.com/office/drawing/2014/main" id="{B74CFD9F-B45C-4C86-B1E3-A200101BFB35}"/>
              </a:ext>
            </a:extLst>
          </p:cNvPr>
          <p:cNvSpPr/>
          <p:nvPr/>
        </p:nvSpPr>
        <p:spPr>
          <a:xfrm rot="2700000" flipH="1">
            <a:off x="-530757" y="3995426"/>
            <a:ext cx="2473782" cy="2092772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1" name="Rectangle: Rounded Corners 150">
            <a:extLst>
              <a:ext uri="{FF2B5EF4-FFF2-40B4-BE49-F238E27FC236}">
                <a16:creationId xmlns:a16="http://schemas.microsoft.com/office/drawing/2014/main" id="{1B24459D-7138-4B23-B430-E11846B9CDB8}"/>
              </a:ext>
            </a:extLst>
          </p:cNvPr>
          <p:cNvSpPr/>
          <p:nvPr/>
        </p:nvSpPr>
        <p:spPr>
          <a:xfrm>
            <a:off x="3856217" y="2125412"/>
            <a:ext cx="4469393" cy="2976107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Georgia" panose="02040502050405020303" pitchFamily="18" charset="0"/>
              </a:rPr>
              <a:t>LOW GRADE STUDENT</a:t>
            </a:r>
          </a:p>
          <a:p>
            <a:pPr algn="ctr"/>
            <a:endParaRPr lang="en-US" sz="2400" b="1" dirty="0">
              <a:solidFill>
                <a:schemeClr val="accent1"/>
              </a:solidFill>
              <a:latin typeface="Georgia" panose="02040502050405020303" pitchFamily="18" charset="0"/>
            </a:endParaRP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Subject </a:t>
            </a:r>
          </a:p>
          <a:p>
            <a:pPr algn="ctr"/>
            <a:r>
              <a:rPr lang="en-US" sz="2000" b="1" dirty="0">
                <a:solidFill>
                  <a:schemeClr val="accent1"/>
                </a:solidFill>
                <a:latin typeface="Georgia" panose="02040502050405020303" pitchFamily="18" charset="0"/>
              </a:rPr>
              <a:t>1,3 and 4 </a:t>
            </a:r>
          </a:p>
        </p:txBody>
      </p:sp>
    </p:spTree>
    <p:extLst>
      <p:ext uri="{BB962C8B-B14F-4D97-AF65-F5344CB8AC3E}">
        <p14:creationId xmlns:p14="http://schemas.microsoft.com/office/powerpoint/2010/main" val="34066540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0" y="5260630"/>
            <a:ext cx="12192000" cy="1589928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6909653" y="5640095"/>
            <a:ext cx="528234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ain Signal : Positive Valance and Positive Arous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otion : Happ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410882" y="5780946"/>
            <a:ext cx="198634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ubject 1</a:t>
            </a:r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7460B372-F847-4A76-BEBA-139FAB911BD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1" t="9663" r="21522" b="5893"/>
          <a:stretch/>
        </p:blipFill>
        <p:spPr>
          <a:xfrm>
            <a:off x="6261444" y="69823"/>
            <a:ext cx="5901232" cy="5190805"/>
          </a:xfrm>
          <a:prstGeom prst="rect">
            <a:avLst/>
          </a:prstGeom>
        </p:spPr>
      </p:pic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8EC8422F-F443-4A7F-B89E-760A6401DB7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78" t="9854" r="21522" b="6667"/>
          <a:stretch/>
        </p:blipFill>
        <p:spPr>
          <a:xfrm>
            <a:off x="163464" y="15544"/>
            <a:ext cx="6097980" cy="5245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092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8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6EA3BD4-C59B-4325-8F13-6B9DE9BC083A}">
  <we:reference id="22ff87a5-132f-4d52-9e97-94d888e4dd91" version="3.1.0.0" store="EXCatalog" storeType="EXCatalog"/>
  <we:alternateReferences>
    <we:reference id="WA104380050" version="3.1.0.0" store="en-MY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663</TotalTime>
  <Words>341</Words>
  <Application>Microsoft Office PowerPoint</Application>
  <PresentationFormat>Widescreen</PresentationFormat>
  <Paragraphs>86</Paragraphs>
  <Slides>20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badi</vt:lpstr>
      <vt:lpstr>Arial</vt:lpstr>
      <vt:lpstr>Calibri</vt:lpstr>
      <vt:lpstr>Calibri Light</vt:lpstr>
      <vt:lpstr>Georgia</vt:lpstr>
      <vt:lpstr>Segoe UI</vt:lpstr>
      <vt:lpstr>Tahoma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Research Protoc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5</dc:creator>
  <cp:lastModifiedBy>HUDA MD NAJMUL</cp:lastModifiedBy>
  <cp:revision>84</cp:revision>
  <dcterms:created xsi:type="dcterms:W3CDTF">2020-12-10T03:34:54Z</dcterms:created>
  <dcterms:modified xsi:type="dcterms:W3CDTF">2022-02-08T05:07:55Z</dcterms:modified>
</cp:coreProperties>
</file>